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comments/comment2.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3.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4.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5.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8" r:id="rId5"/>
    <p:sldMasterId id="2147483701" r:id="rId6"/>
  </p:sldMasterIdLst>
  <p:notesMasterIdLst>
    <p:notesMasterId r:id="rId56"/>
  </p:notesMasterIdLst>
  <p:sldIdLst>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306" r:id="rId43"/>
    <p:sldId id="294" r:id="rId44"/>
    <p:sldId id="295" r:id="rId45"/>
    <p:sldId id="296" r:id="rId46"/>
    <p:sldId id="297" r:id="rId47"/>
    <p:sldId id="298" r:id="rId48"/>
    <p:sldId id="299" r:id="rId49"/>
    <p:sldId id="300" r:id="rId50"/>
    <p:sldId id="301" r:id="rId51"/>
    <p:sldId id="302" r:id="rId52"/>
    <p:sldId id="303" r:id="rId53"/>
    <p:sldId id="304" r:id="rId54"/>
    <p:sldId id="305"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Xitlali Curincita"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6" d="100"/>
          <a:sy n="116" d="100"/>
        </p:scale>
        <p:origin x="138" y="3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commentAuthors" Target="commentAuthor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Graduate%20data%2020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Graduate%20data%20202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Graduate%20data%20202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1.bin"/></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embeddings/oleObject2.bin"/></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embeddings/oleObject3.bin"/></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embeddings/oleObject4.bin"/></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3!$K$62</c:f>
              <c:strCache>
                <c:ptCount val="1"/>
                <c:pt idx="0">
                  <c:v>Total Graduate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J$63:$J$67</c:f>
              <c:strCache>
                <c:ptCount val="5"/>
                <c:pt idx="0">
                  <c:v>2016-17</c:v>
                </c:pt>
                <c:pt idx="1">
                  <c:v>2017-18</c:v>
                </c:pt>
                <c:pt idx="2">
                  <c:v>2018-19</c:v>
                </c:pt>
                <c:pt idx="3">
                  <c:v>2019-20</c:v>
                </c:pt>
                <c:pt idx="4">
                  <c:v>2020-21</c:v>
                </c:pt>
              </c:strCache>
            </c:strRef>
          </c:cat>
          <c:val>
            <c:numRef>
              <c:f>Sheet3!$K$63:$K$67</c:f>
              <c:numCache>
                <c:formatCode>General</c:formatCode>
                <c:ptCount val="5"/>
                <c:pt idx="0">
                  <c:v>566</c:v>
                </c:pt>
                <c:pt idx="1">
                  <c:v>563</c:v>
                </c:pt>
                <c:pt idx="2">
                  <c:v>528</c:v>
                </c:pt>
                <c:pt idx="3">
                  <c:v>515</c:v>
                </c:pt>
              </c:numCache>
            </c:numRef>
          </c:val>
          <c:smooth val="0"/>
          <c:extLst>
            <c:ext xmlns:c16="http://schemas.microsoft.com/office/drawing/2014/chart" uri="{C3380CC4-5D6E-409C-BE32-E72D297353CC}">
              <c16:uniqueId val="{00000000-FA27-4FBA-ACB6-F8745833EDEB}"/>
            </c:ext>
          </c:extLst>
        </c:ser>
        <c:ser>
          <c:idx val="1"/>
          <c:order val="1"/>
          <c:tx>
            <c:strRef>
              <c:f>Sheet3!$L$62</c:f>
              <c:strCache>
                <c:ptCount val="1"/>
                <c:pt idx="0">
                  <c:v>Forcast</c:v>
                </c:pt>
              </c:strCache>
            </c:strRef>
          </c:tx>
          <c:spPr>
            <a:ln w="28575" cap="rnd">
              <a:solidFill>
                <a:schemeClr val="accent2"/>
              </a:solidFill>
              <a:prstDash val="dash"/>
              <a:round/>
            </a:ln>
            <a:effectLst/>
          </c:spPr>
          <c:marker>
            <c:symbol val="none"/>
          </c:marker>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J$63:$J$67</c:f>
              <c:strCache>
                <c:ptCount val="5"/>
                <c:pt idx="0">
                  <c:v>2016-17</c:v>
                </c:pt>
                <c:pt idx="1">
                  <c:v>2017-18</c:v>
                </c:pt>
                <c:pt idx="2">
                  <c:v>2018-19</c:v>
                </c:pt>
                <c:pt idx="3">
                  <c:v>2019-20</c:v>
                </c:pt>
                <c:pt idx="4">
                  <c:v>2020-21</c:v>
                </c:pt>
              </c:strCache>
            </c:strRef>
          </c:cat>
          <c:val>
            <c:numRef>
              <c:f>Sheet3!$L$63:$L$67</c:f>
              <c:numCache>
                <c:formatCode>General</c:formatCode>
                <c:ptCount val="5"/>
                <c:pt idx="3">
                  <c:v>515</c:v>
                </c:pt>
                <c:pt idx="4">
                  <c:v>626</c:v>
                </c:pt>
              </c:numCache>
            </c:numRef>
          </c:val>
          <c:smooth val="0"/>
          <c:extLst>
            <c:ext xmlns:c16="http://schemas.microsoft.com/office/drawing/2014/chart" uri="{C3380CC4-5D6E-409C-BE32-E72D297353CC}">
              <c16:uniqueId val="{00000001-FA27-4FBA-ACB6-F8745833EDEB}"/>
            </c:ext>
          </c:extLst>
        </c:ser>
        <c:dLbls>
          <c:dLblPos val="t"/>
          <c:showLegendKey val="0"/>
          <c:showVal val="1"/>
          <c:showCatName val="0"/>
          <c:showSerName val="0"/>
          <c:showPercent val="0"/>
          <c:showBubbleSize val="0"/>
        </c:dLbls>
        <c:smooth val="0"/>
        <c:axId val="599702128"/>
        <c:axId val="599703376"/>
      </c:lineChart>
      <c:catAx>
        <c:axId val="599702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599703376"/>
        <c:crosses val="autoZero"/>
        <c:auto val="1"/>
        <c:lblAlgn val="ctr"/>
        <c:lblOffset val="100"/>
        <c:noMultiLvlLbl val="0"/>
      </c:catAx>
      <c:valAx>
        <c:axId val="599703376"/>
        <c:scaling>
          <c:orientation val="minMax"/>
          <c:min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599702128"/>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3!$K$43</c:f>
              <c:strCache>
                <c:ptCount val="1"/>
                <c:pt idx="0">
                  <c:v>Total Degree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J$44:$J$48</c:f>
              <c:strCache>
                <c:ptCount val="5"/>
                <c:pt idx="0">
                  <c:v>2016-17</c:v>
                </c:pt>
                <c:pt idx="1">
                  <c:v>2017-18</c:v>
                </c:pt>
                <c:pt idx="2">
                  <c:v>2018-19</c:v>
                </c:pt>
                <c:pt idx="3">
                  <c:v>2019-20</c:v>
                </c:pt>
                <c:pt idx="4">
                  <c:v>2020-21</c:v>
                </c:pt>
              </c:strCache>
            </c:strRef>
          </c:cat>
          <c:val>
            <c:numRef>
              <c:f>Sheet3!$K$44:$K$48</c:f>
              <c:numCache>
                <c:formatCode>General</c:formatCode>
                <c:ptCount val="5"/>
                <c:pt idx="0">
                  <c:v>589</c:v>
                </c:pt>
                <c:pt idx="1">
                  <c:v>569</c:v>
                </c:pt>
                <c:pt idx="2">
                  <c:v>630</c:v>
                </c:pt>
                <c:pt idx="3">
                  <c:v>623</c:v>
                </c:pt>
              </c:numCache>
            </c:numRef>
          </c:val>
          <c:smooth val="0"/>
          <c:extLst>
            <c:ext xmlns:c16="http://schemas.microsoft.com/office/drawing/2014/chart" uri="{C3380CC4-5D6E-409C-BE32-E72D297353CC}">
              <c16:uniqueId val="{00000000-300D-4859-9E62-18054F32FB00}"/>
            </c:ext>
          </c:extLst>
        </c:ser>
        <c:ser>
          <c:idx val="1"/>
          <c:order val="1"/>
          <c:tx>
            <c:strRef>
              <c:f>Sheet3!$L$43</c:f>
              <c:strCache>
                <c:ptCount val="1"/>
                <c:pt idx="0">
                  <c:v>Forcast</c:v>
                </c:pt>
              </c:strCache>
            </c:strRef>
          </c:tx>
          <c:spPr>
            <a:ln w="28575" cap="rnd">
              <a:solidFill>
                <a:schemeClr val="accent2"/>
              </a:solidFill>
              <a:prstDash val="dash"/>
              <a:round/>
            </a:ln>
            <a:effectLst/>
          </c:spPr>
          <c:marker>
            <c:symbol val="none"/>
          </c:marker>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J$44:$J$48</c:f>
              <c:strCache>
                <c:ptCount val="5"/>
                <c:pt idx="0">
                  <c:v>2016-17</c:v>
                </c:pt>
                <c:pt idx="1">
                  <c:v>2017-18</c:v>
                </c:pt>
                <c:pt idx="2">
                  <c:v>2018-19</c:v>
                </c:pt>
                <c:pt idx="3">
                  <c:v>2019-20</c:v>
                </c:pt>
                <c:pt idx="4">
                  <c:v>2020-21</c:v>
                </c:pt>
              </c:strCache>
            </c:strRef>
          </c:cat>
          <c:val>
            <c:numRef>
              <c:f>Sheet3!$L$44:$L$48</c:f>
              <c:numCache>
                <c:formatCode>General</c:formatCode>
                <c:ptCount val="5"/>
                <c:pt idx="3">
                  <c:v>623</c:v>
                </c:pt>
                <c:pt idx="4" formatCode="0">
                  <c:v>801</c:v>
                </c:pt>
              </c:numCache>
            </c:numRef>
          </c:val>
          <c:smooth val="0"/>
          <c:extLst>
            <c:ext xmlns:c16="http://schemas.microsoft.com/office/drawing/2014/chart" uri="{C3380CC4-5D6E-409C-BE32-E72D297353CC}">
              <c16:uniqueId val="{00000001-300D-4859-9E62-18054F32FB00}"/>
            </c:ext>
          </c:extLst>
        </c:ser>
        <c:dLbls>
          <c:dLblPos val="t"/>
          <c:showLegendKey val="0"/>
          <c:showVal val="1"/>
          <c:showCatName val="0"/>
          <c:showSerName val="0"/>
          <c:showPercent val="0"/>
          <c:showBubbleSize val="0"/>
        </c:dLbls>
        <c:smooth val="0"/>
        <c:axId val="1543415088"/>
        <c:axId val="1543407600"/>
      </c:lineChart>
      <c:catAx>
        <c:axId val="154341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43407600"/>
        <c:crosses val="autoZero"/>
        <c:auto val="1"/>
        <c:lblAlgn val="ctr"/>
        <c:lblOffset val="100"/>
        <c:noMultiLvlLbl val="0"/>
      </c:catAx>
      <c:valAx>
        <c:axId val="1543407600"/>
        <c:scaling>
          <c:orientation val="minMax"/>
          <c:min val="2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4341508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Graduate data 2021.xlsx]Sheet3'!$K$50</c:f>
              <c:strCache>
                <c:ptCount val="1"/>
                <c:pt idx="0">
                  <c:v>Total Certificate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duate data 2021.xlsx]Sheet3'!$J$51:$J$55</c:f>
              <c:strCache>
                <c:ptCount val="5"/>
                <c:pt idx="0">
                  <c:v>2016-17</c:v>
                </c:pt>
                <c:pt idx="1">
                  <c:v>2017-18</c:v>
                </c:pt>
                <c:pt idx="2">
                  <c:v>2018-19</c:v>
                </c:pt>
                <c:pt idx="3">
                  <c:v>2019-20</c:v>
                </c:pt>
                <c:pt idx="4">
                  <c:v>2020-21</c:v>
                </c:pt>
              </c:strCache>
            </c:strRef>
          </c:cat>
          <c:val>
            <c:numRef>
              <c:f>'[Graduate data 2021.xlsx]Sheet3'!$K$51:$K$55</c:f>
              <c:numCache>
                <c:formatCode>General</c:formatCode>
                <c:ptCount val="5"/>
                <c:pt idx="0">
                  <c:v>302</c:v>
                </c:pt>
                <c:pt idx="1">
                  <c:v>373</c:v>
                </c:pt>
                <c:pt idx="2">
                  <c:v>289</c:v>
                </c:pt>
                <c:pt idx="3">
                  <c:v>259</c:v>
                </c:pt>
              </c:numCache>
            </c:numRef>
          </c:val>
          <c:smooth val="0"/>
          <c:extLst>
            <c:ext xmlns:c16="http://schemas.microsoft.com/office/drawing/2014/chart" uri="{C3380CC4-5D6E-409C-BE32-E72D297353CC}">
              <c16:uniqueId val="{00000000-FD28-4637-8C27-CB7372F3ACFD}"/>
            </c:ext>
          </c:extLst>
        </c:ser>
        <c:ser>
          <c:idx val="1"/>
          <c:order val="1"/>
          <c:tx>
            <c:strRef>
              <c:f>'[Graduate data 2021.xlsx]Sheet3'!$L$50</c:f>
              <c:strCache>
                <c:ptCount val="1"/>
                <c:pt idx="0">
                  <c:v>Forcast</c:v>
                </c:pt>
              </c:strCache>
            </c:strRef>
          </c:tx>
          <c:spPr>
            <a:ln w="28575" cap="rnd">
              <a:solidFill>
                <a:schemeClr val="accent2"/>
              </a:solidFill>
              <a:prstDash val="dash"/>
              <a:round/>
            </a:ln>
            <a:effectLst/>
          </c:spPr>
          <c:marker>
            <c:symbol val="none"/>
          </c:marker>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duate data 2021.xlsx]Sheet3'!$J$51:$J$55</c:f>
              <c:strCache>
                <c:ptCount val="5"/>
                <c:pt idx="0">
                  <c:v>2016-17</c:v>
                </c:pt>
                <c:pt idx="1">
                  <c:v>2017-18</c:v>
                </c:pt>
                <c:pt idx="2">
                  <c:v>2018-19</c:v>
                </c:pt>
                <c:pt idx="3">
                  <c:v>2019-20</c:v>
                </c:pt>
                <c:pt idx="4">
                  <c:v>2020-21</c:v>
                </c:pt>
              </c:strCache>
            </c:strRef>
          </c:cat>
          <c:val>
            <c:numRef>
              <c:f>'[Graduate data 2021.xlsx]Sheet3'!$L$51:$L$55</c:f>
              <c:numCache>
                <c:formatCode>General</c:formatCode>
                <c:ptCount val="5"/>
                <c:pt idx="3">
                  <c:v>259</c:v>
                </c:pt>
                <c:pt idx="4" formatCode="0">
                  <c:v>328</c:v>
                </c:pt>
              </c:numCache>
            </c:numRef>
          </c:val>
          <c:smooth val="0"/>
          <c:extLst>
            <c:ext xmlns:c16="http://schemas.microsoft.com/office/drawing/2014/chart" uri="{C3380CC4-5D6E-409C-BE32-E72D297353CC}">
              <c16:uniqueId val="{00000001-FD28-4637-8C27-CB7372F3ACFD}"/>
            </c:ext>
          </c:extLst>
        </c:ser>
        <c:dLbls>
          <c:dLblPos val="t"/>
          <c:showLegendKey val="0"/>
          <c:showVal val="1"/>
          <c:showCatName val="0"/>
          <c:showSerName val="0"/>
          <c:showPercent val="0"/>
          <c:showBubbleSize val="0"/>
        </c:dLbls>
        <c:smooth val="0"/>
        <c:axId val="1543396512"/>
        <c:axId val="1543400672"/>
      </c:lineChart>
      <c:catAx>
        <c:axId val="1543396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43400672"/>
        <c:crosses val="autoZero"/>
        <c:auto val="1"/>
        <c:lblAlgn val="ctr"/>
        <c:lblOffset val="100"/>
        <c:noMultiLvlLbl val="0"/>
      </c:catAx>
      <c:valAx>
        <c:axId val="1543400672"/>
        <c:scaling>
          <c:orientation val="minMax"/>
          <c:min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43396512"/>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DD0D-46C4-8D6D-F777C9414F69}"/>
              </c:ext>
            </c:extLst>
          </c:dPt>
          <c:dPt>
            <c:idx val="1"/>
            <c:bubble3D val="0"/>
            <c:spPr>
              <a:noFill/>
              <a:ln w="19050">
                <a:solidFill>
                  <a:srgbClr val="006342"/>
                </a:solidFill>
              </a:ln>
              <a:effectLst/>
            </c:spPr>
            <c:extLst>
              <c:ext xmlns:c16="http://schemas.microsoft.com/office/drawing/2014/chart" uri="{C3380CC4-5D6E-409C-BE32-E72D297353CC}">
                <c16:uniqueId val="{00000003-DD0D-46C4-8D6D-F777C9414F69}"/>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1-DD0D-46C4-8D6D-F777C9414F6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A$2:$B$2</c:f>
              <c:numCache>
                <c:formatCode>0%</c:formatCode>
                <c:ptCount val="2"/>
                <c:pt idx="0">
                  <c:v>0.2</c:v>
                </c:pt>
                <c:pt idx="1">
                  <c:v>0.8</c:v>
                </c:pt>
              </c:numCache>
            </c:numRef>
          </c:val>
          <c:extLst>
            <c:ext xmlns:c16="http://schemas.microsoft.com/office/drawing/2014/chart" uri="{C3380CC4-5D6E-409C-BE32-E72D297353CC}">
              <c16:uniqueId val="{00000004-DD0D-46C4-8D6D-F777C9414F69}"/>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F2F9-4EDC-ADC6-707FF595B6C7}"/>
              </c:ext>
            </c:extLst>
          </c:dPt>
          <c:dPt>
            <c:idx val="1"/>
            <c:bubble3D val="0"/>
            <c:spPr>
              <a:noFill/>
              <a:ln w="19050">
                <a:solidFill>
                  <a:srgbClr val="006342"/>
                </a:solidFill>
              </a:ln>
              <a:effectLst/>
            </c:spPr>
            <c:extLst>
              <c:ext xmlns:c16="http://schemas.microsoft.com/office/drawing/2014/chart" uri="{C3380CC4-5D6E-409C-BE32-E72D297353CC}">
                <c16:uniqueId val="{00000003-F2F9-4EDC-ADC6-707FF595B6C7}"/>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2F9-4EDC-ADC6-707FF595B6C7}"/>
                </c:ext>
              </c:extLst>
            </c:dLbl>
            <c:dLbl>
              <c:idx val="1"/>
              <c:delete val="1"/>
              <c:extLst>
                <c:ext xmlns:c15="http://schemas.microsoft.com/office/drawing/2012/chart" uri="{CE6537A1-D6FC-4f65-9D91-7224C49458BB}"/>
                <c:ext xmlns:c16="http://schemas.microsoft.com/office/drawing/2014/chart" uri="{C3380CC4-5D6E-409C-BE32-E72D297353CC}">
                  <c16:uniqueId val="{00000003-F2F9-4EDC-ADC6-707FF595B6C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4</c:v>
                </c:pt>
                <c:pt idx="1">
                  <c:v>0.6</c:v>
                </c:pt>
              </c:numCache>
            </c:numRef>
          </c:val>
          <c:extLst>
            <c:ext xmlns:c16="http://schemas.microsoft.com/office/drawing/2014/chart" uri="{C3380CC4-5D6E-409C-BE32-E72D297353CC}">
              <c16:uniqueId val="{00000004-F2F9-4EDC-ADC6-707FF595B6C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7B91-474E-8B45-34DD01DC984B}"/>
              </c:ext>
            </c:extLst>
          </c:dPt>
          <c:dPt>
            <c:idx val="1"/>
            <c:bubble3D val="0"/>
            <c:spPr>
              <a:noFill/>
              <a:ln w="19050">
                <a:solidFill>
                  <a:srgbClr val="006342"/>
                </a:solidFill>
              </a:ln>
              <a:effectLst/>
            </c:spPr>
            <c:extLst>
              <c:ext xmlns:c16="http://schemas.microsoft.com/office/drawing/2014/chart" uri="{C3380CC4-5D6E-409C-BE32-E72D297353CC}">
                <c16:uniqueId val="{00000003-7B91-474E-8B45-34DD01DC984B}"/>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91-474E-8B45-34DD01DC984B}"/>
                </c:ext>
              </c:extLst>
            </c:dLbl>
            <c:dLbl>
              <c:idx val="1"/>
              <c:delete val="1"/>
              <c:extLst>
                <c:ext xmlns:c15="http://schemas.microsoft.com/office/drawing/2012/chart" uri="{CE6537A1-D6FC-4f65-9D91-7224C49458BB}"/>
                <c:ext xmlns:c16="http://schemas.microsoft.com/office/drawing/2014/chart" uri="{C3380CC4-5D6E-409C-BE32-E72D297353CC}">
                  <c16:uniqueId val="{00000003-7B91-474E-8B45-34DD01DC984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4</c:v>
                </c:pt>
                <c:pt idx="1">
                  <c:v>0.6</c:v>
                </c:pt>
              </c:numCache>
            </c:numRef>
          </c:val>
          <c:extLst>
            <c:ext xmlns:c16="http://schemas.microsoft.com/office/drawing/2014/chart" uri="{C3380CC4-5D6E-409C-BE32-E72D297353CC}">
              <c16:uniqueId val="{00000004-7B91-474E-8B45-34DD01DC984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47EE-41E3-B2F8-87375BBFD1C1}"/>
              </c:ext>
            </c:extLst>
          </c:dPt>
          <c:dPt>
            <c:idx val="1"/>
            <c:bubble3D val="0"/>
            <c:spPr>
              <a:noFill/>
              <a:ln w="19050">
                <a:solidFill>
                  <a:srgbClr val="006342"/>
                </a:solidFill>
              </a:ln>
              <a:effectLst/>
            </c:spPr>
            <c:extLst>
              <c:ext xmlns:c16="http://schemas.microsoft.com/office/drawing/2014/chart" uri="{C3380CC4-5D6E-409C-BE32-E72D297353CC}">
                <c16:uniqueId val="{00000003-47EE-41E3-B2F8-87375BBFD1C1}"/>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7EE-41E3-B2F8-87375BBFD1C1}"/>
                </c:ext>
              </c:extLst>
            </c:dLbl>
            <c:dLbl>
              <c:idx val="1"/>
              <c:delete val="1"/>
              <c:extLst>
                <c:ext xmlns:c15="http://schemas.microsoft.com/office/drawing/2012/chart" uri="{CE6537A1-D6FC-4f65-9D91-7224C49458BB}"/>
                <c:ext xmlns:c16="http://schemas.microsoft.com/office/drawing/2014/chart" uri="{C3380CC4-5D6E-409C-BE32-E72D297353CC}">
                  <c16:uniqueId val="{00000003-47EE-41E3-B2F8-87375BBFD1C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4</c:v>
                </c:pt>
                <c:pt idx="1">
                  <c:v>0.6</c:v>
                </c:pt>
              </c:numCache>
            </c:numRef>
          </c:val>
          <c:extLst>
            <c:ext xmlns:c16="http://schemas.microsoft.com/office/drawing/2014/chart" uri="{C3380CC4-5D6E-409C-BE32-E72D297353CC}">
              <c16:uniqueId val="{00000004-47EE-41E3-B2F8-87375BBFD1C1}"/>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CAD0-4C8A-8FCA-C5B15167C83A}"/>
              </c:ext>
            </c:extLst>
          </c:dPt>
          <c:dPt>
            <c:idx val="1"/>
            <c:bubble3D val="0"/>
            <c:spPr>
              <a:noFill/>
              <a:ln w="19050">
                <a:solidFill>
                  <a:srgbClr val="006342"/>
                </a:solidFill>
              </a:ln>
              <a:effectLst/>
            </c:spPr>
            <c:extLst>
              <c:ext xmlns:c16="http://schemas.microsoft.com/office/drawing/2014/chart" uri="{C3380CC4-5D6E-409C-BE32-E72D297353CC}">
                <c16:uniqueId val="{00000003-CAD0-4C8A-8FCA-C5B15167C83A}"/>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AD0-4C8A-8FCA-C5B15167C83A}"/>
                </c:ext>
              </c:extLst>
            </c:dLbl>
            <c:dLbl>
              <c:idx val="1"/>
              <c:delete val="1"/>
              <c:extLst>
                <c:ext xmlns:c15="http://schemas.microsoft.com/office/drawing/2012/chart" uri="{CE6537A1-D6FC-4f65-9D91-7224C49458BB}"/>
                <c:ext xmlns:c16="http://schemas.microsoft.com/office/drawing/2014/chart" uri="{C3380CC4-5D6E-409C-BE32-E72D297353CC}">
                  <c16:uniqueId val="{00000003-CAD0-4C8A-8FCA-C5B15167C83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4</c:v>
                </c:pt>
                <c:pt idx="1">
                  <c:v>0.6</c:v>
                </c:pt>
              </c:numCache>
            </c:numRef>
          </c:val>
          <c:extLst>
            <c:ext xmlns:c16="http://schemas.microsoft.com/office/drawing/2014/chart" uri="{C3380CC4-5D6E-409C-BE32-E72D297353CC}">
              <c16:uniqueId val="{00000004-CAD0-4C8A-8FCA-C5B15167C83A}"/>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006342"/>
            </a:solidFill>
          </c:spPr>
          <c:explosion val="6"/>
          <c:dPt>
            <c:idx val="0"/>
            <c:bubble3D val="0"/>
            <c:spPr>
              <a:solidFill>
                <a:srgbClr val="006342"/>
              </a:solidFill>
              <a:ln w="19050">
                <a:solidFill>
                  <a:schemeClr val="lt1"/>
                </a:solidFill>
              </a:ln>
              <a:effectLst/>
            </c:spPr>
            <c:extLst>
              <c:ext xmlns:c16="http://schemas.microsoft.com/office/drawing/2014/chart" uri="{C3380CC4-5D6E-409C-BE32-E72D297353CC}">
                <c16:uniqueId val="{00000001-B789-4A49-BA9C-39A3FE9F840B}"/>
              </c:ext>
            </c:extLst>
          </c:dPt>
          <c:dPt>
            <c:idx val="1"/>
            <c:bubble3D val="0"/>
            <c:spPr>
              <a:noFill/>
              <a:ln w="19050">
                <a:solidFill>
                  <a:srgbClr val="006342"/>
                </a:solidFill>
              </a:ln>
              <a:effectLst/>
            </c:spPr>
            <c:extLst>
              <c:ext xmlns:c16="http://schemas.microsoft.com/office/drawing/2014/chart" uri="{C3380CC4-5D6E-409C-BE32-E72D297353CC}">
                <c16:uniqueId val="{00000003-B789-4A49-BA9C-39A3FE9F840B}"/>
              </c:ext>
            </c:extLst>
          </c:dPt>
          <c:dLbls>
            <c:dLbl>
              <c:idx val="0"/>
              <c:layout>
                <c:manualLayout>
                  <c:x val="-2.028265697557036E-3"/>
                  <c:y val="-6.8529634632491024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89-4A49-BA9C-39A3FE9F840B}"/>
                </c:ext>
              </c:extLst>
            </c:dLbl>
            <c:dLbl>
              <c:idx val="1"/>
              <c:delete val="1"/>
              <c:extLst>
                <c:ext xmlns:c15="http://schemas.microsoft.com/office/drawing/2012/chart" uri="{CE6537A1-D6FC-4f65-9D91-7224C49458BB}"/>
                <c:ext xmlns:c16="http://schemas.microsoft.com/office/drawing/2014/chart" uri="{C3380CC4-5D6E-409C-BE32-E72D297353CC}">
                  <c16:uniqueId val="{00000003-B789-4A49-BA9C-39A3FE9F840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Percentage complete diagrams.xlsx]Sheet1'!$A$2:$B$2</c:f>
              <c:numCache>
                <c:formatCode>0%</c:formatCode>
                <c:ptCount val="2"/>
                <c:pt idx="0">
                  <c:v>0.5</c:v>
                </c:pt>
                <c:pt idx="1">
                  <c:v>0.5</c:v>
                </c:pt>
              </c:numCache>
            </c:numRef>
          </c:val>
          <c:extLst>
            <c:ext xmlns:c16="http://schemas.microsoft.com/office/drawing/2014/chart" uri="{C3380CC4-5D6E-409C-BE32-E72D297353CC}">
              <c16:uniqueId val="{00000004-B789-4A49-BA9C-39A3FE9F840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0" dt="2021-08-06T01:10:21.397" idx="1">
    <p:pos x="6000" y="0"/>
    <p:text>add ASCC clip waving !</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21-08-06T17:12:14.179" idx="2">
    <p:pos x="6000" y="0"/>
    <p:text>Hey @marisagutierrez@my.smccd.edu , hope this helps a little on how to formate things! Let me know if you need any help! :))
_Assigned to Marisa Gutierrez_</p:tex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027643-59F1-42CE-9875-DAD425B4BDB7}" type="datetimeFigureOut">
              <a:rPr lang="en-US" smtClean="0"/>
              <a:t>8/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9A62A6-A44B-40B9-BBF9-A8AA6E401B0D}" type="slidenum">
              <a:rPr lang="en-US" smtClean="0"/>
              <a:t>‹#›</a:t>
            </a:fld>
            <a:endParaRPr lang="en-US"/>
          </a:p>
        </p:txBody>
      </p:sp>
    </p:spTree>
    <p:extLst>
      <p:ext uri="{BB962C8B-B14F-4D97-AF65-F5344CB8AC3E}">
        <p14:creationId xmlns:p14="http://schemas.microsoft.com/office/powerpoint/2010/main" val="4191126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notes"/>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2" name="Google Shape;17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Xitlali</a:t>
            </a:r>
            <a:endParaRPr/>
          </a:p>
          <a:p>
            <a:pPr marL="0" lvl="0" indent="0" algn="l" rtl="0">
              <a:spcBef>
                <a:spcPts val="0"/>
              </a:spcBef>
              <a:spcAft>
                <a:spcPts val="0"/>
              </a:spcAft>
              <a:buNone/>
            </a:pPr>
            <a:endParaRPr/>
          </a:p>
          <a:p>
            <a:pPr marL="0" lvl="0" indent="0" algn="l" rtl="0">
              <a:spcBef>
                <a:spcPts val="0"/>
              </a:spcBef>
              <a:spcAft>
                <a:spcPts val="0"/>
              </a:spcAft>
              <a:buNone/>
            </a:pPr>
            <a:r>
              <a:rPr lang="en"/>
              <a:t>Introduction - </a:t>
            </a:r>
            <a:endParaRPr/>
          </a:p>
          <a:p>
            <a:pPr marL="0" lvl="0" indent="0" algn="l" rtl="0">
              <a:spcBef>
                <a:spcPts val="0"/>
              </a:spcBef>
              <a:spcAft>
                <a:spcPts val="0"/>
              </a:spcAft>
              <a:buNone/>
            </a:pPr>
            <a:endParaRPr/>
          </a:p>
          <a:p>
            <a:pPr marL="0" lvl="0" indent="0" algn="l" rtl="0">
              <a:spcBef>
                <a:spcPts val="0"/>
              </a:spcBef>
              <a:spcAft>
                <a:spcPts val="0"/>
              </a:spcAft>
              <a:buNone/>
            </a:pPr>
            <a:r>
              <a:rPr lang="en"/>
              <a:t>Hello Faculty and Staff of Cañada College. </a:t>
            </a:r>
            <a:r>
              <a:rPr lang="en">
                <a:solidFill>
                  <a:schemeClr val="dk1"/>
                </a:solidFill>
              </a:rPr>
              <a:t>My Name is Xitlaili Curincita , I use she/her/ella pronouns, and I am the 2021-2022 President of the Associated Students of Cañada College. I am currently a Middle College Senior and have had the privilege to work with the Associated Students since 2020. The amazing senate members and I are so excited to be here to get the opportunity to meet you all a bit more and show what we have in store for this academic year.  Thank you for having us and without further ado this is the ASCC 2021-2022 Leadership Retreat Presentation. </a:t>
            </a:r>
            <a:endParaRPr/>
          </a:p>
        </p:txBody>
      </p:sp>
    </p:spTree>
    <p:extLst>
      <p:ext uri="{BB962C8B-B14F-4D97-AF65-F5344CB8AC3E}">
        <p14:creationId xmlns:p14="http://schemas.microsoft.com/office/powerpoint/2010/main" val="42642205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4"/>
        <p:cNvGrpSpPr/>
        <p:nvPr/>
      </p:nvGrpSpPr>
      <p:grpSpPr>
        <a:xfrm>
          <a:off x="0" y="0"/>
          <a:ext cx="0" cy="0"/>
          <a:chOff x="0" y="0"/>
          <a:chExt cx="0" cy="0"/>
        </a:xfrm>
      </p:grpSpPr>
      <p:sp>
        <p:nvSpPr>
          <p:cNvPr id="375" name="Google Shape;375;g966b42add8_4_110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6" name="Google Shape;376;g966b42add8_4_11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714842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2"/>
        <p:cNvGrpSpPr/>
        <p:nvPr/>
      </p:nvGrpSpPr>
      <p:grpSpPr>
        <a:xfrm>
          <a:off x="0" y="0"/>
          <a:ext cx="0" cy="0"/>
          <a:chOff x="0" y="0"/>
          <a:chExt cx="0" cy="0"/>
        </a:xfrm>
      </p:grpSpPr>
      <p:sp>
        <p:nvSpPr>
          <p:cNvPr id="423" name="Google Shape;423;ge7a64426b6_3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4" name="Google Shape;424;ge7a64426b6_3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These are the fall events we have lined up. The first two are our upcoming events, taking place on the 27th and 15th. Our programming board meetings, which are our planning meetings, began this Monday and allows the groups in charge to discuss many factors of an event, like the decorations, food, and swag. We’re all really excited to get the year started and we want our students to be just as enthusiastic as we kick off these first events. </a:t>
            </a:r>
            <a:endParaRPr/>
          </a:p>
        </p:txBody>
      </p:sp>
    </p:spTree>
    <p:extLst>
      <p:ext uri="{BB962C8B-B14F-4D97-AF65-F5344CB8AC3E}">
        <p14:creationId xmlns:p14="http://schemas.microsoft.com/office/powerpoint/2010/main" val="5599415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gaa92d6a1c2_2_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0" name="Google Shape;490;gaa92d6a1c2_2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99500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4"/>
        <p:cNvGrpSpPr/>
        <p:nvPr/>
      </p:nvGrpSpPr>
      <p:grpSpPr>
        <a:xfrm>
          <a:off x="0" y="0"/>
          <a:ext cx="0" cy="0"/>
          <a:chOff x="0" y="0"/>
          <a:chExt cx="0" cy="0"/>
        </a:xfrm>
      </p:grpSpPr>
      <p:sp>
        <p:nvSpPr>
          <p:cNvPr id="495" name="Google Shape;495;ge492911905_3_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6" name="Google Shape;496;ge492911905_3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13416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culty led the launch of a new Ethnic Studies program of study and CSU approved courses for transfer</a:t>
            </a:r>
          </a:p>
          <a:p>
            <a:r>
              <a:rPr lang="en-US" dirty="0"/>
              <a:t>Faculty led the launch of a new </a:t>
            </a:r>
            <a:r>
              <a:rPr lang="en-US" dirty="0" err="1"/>
              <a:t>Umoja</a:t>
            </a:r>
            <a:r>
              <a:rPr lang="en-US" dirty="0"/>
              <a:t> program which is actively enrolling students now</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9FE1FF1-0E9C-4A1C-ACC2-AEC6216313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3845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9969799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217002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033642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8a1f552b24_0_5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 name="Google Shape;231;g8a1f552b24_0_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1200">
                <a:solidFill>
                  <a:schemeClr val="dk1"/>
                </a:solidFill>
              </a:rPr>
              <a:t>Xitlali</a:t>
            </a:r>
            <a:endParaRPr sz="1200">
              <a:solidFill>
                <a:schemeClr val="dk1"/>
              </a:solidFill>
            </a:endParaRPr>
          </a:p>
          <a:p>
            <a:pPr marL="0" lvl="0" indent="0" algn="l" rtl="0">
              <a:spcBef>
                <a:spcPts val="0"/>
              </a:spcBef>
              <a:spcAft>
                <a:spcPts val="0"/>
              </a:spcAft>
              <a:buNone/>
            </a:pPr>
            <a:endParaRPr sz="1200">
              <a:solidFill>
                <a:schemeClr val="dk1"/>
              </a:solidFill>
            </a:endParaRPr>
          </a:p>
          <a:p>
            <a:pPr marL="0" lvl="0" indent="0" algn="l" rtl="0">
              <a:spcBef>
                <a:spcPts val="0"/>
              </a:spcBef>
              <a:spcAft>
                <a:spcPts val="0"/>
              </a:spcAft>
              <a:buNone/>
            </a:pPr>
            <a:r>
              <a:rPr lang="en" sz="1200">
                <a:solidFill>
                  <a:schemeClr val="dk1"/>
                </a:solidFill>
              </a:rPr>
              <a:t>Who is ASSC-</a:t>
            </a:r>
            <a:endParaRPr sz="1200">
              <a:solidFill>
                <a:schemeClr val="dk1"/>
              </a:solidFill>
            </a:endParaRPr>
          </a:p>
          <a:p>
            <a:pPr marL="0" lvl="0" indent="0" algn="l" rtl="0">
              <a:spcBef>
                <a:spcPts val="0"/>
              </a:spcBef>
              <a:spcAft>
                <a:spcPts val="0"/>
              </a:spcAft>
              <a:buNone/>
            </a:pPr>
            <a:r>
              <a:rPr lang="en" sz="1200">
                <a:solidFill>
                  <a:schemeClr val="dk1"/>
                </a:solidFill>
              </a:rPr>
              <a:t> According to the Cañada College Website ASCC are elected and appointed student representatives who organize and promote campus wide programs, protect student rights, and represent the student voice on campus committees. The Student Senate is seen as the official voice of students on campus.</a:t>
            </a:r>
            <a:endParaRPr sz="1200">
              <a:solidFill>
                <a:schemeClr val="dk1"/>
              </a:solidFill>
            </a:endParaRPr>
          </a:p>
          <a:p>
            <a:pPr marL="0" lvl="0" indent="0" algn="l" rtl="0">
              <a:spcBef>
                <a:spcPts val="0"/>
              </a:spcBef>
              <a:spcAft>
                <a:spcPts val="0"/>
              </a:spcAft>
              <a:buNone/>
            </a:pPr>
            <a:endParaRPr sz="1200">
              <a:solidFill>
                <a:schemeClr val="dk1"/>
              </a:solidFill>
            </a:endParaRPr>
          </a:p>
          <a:p>
            <a:pPr marL="0" lvl="0" indent="0" algn="l" rtl="0">
              <a:spcBef>
                <a:spcPts val="0"/>
              </a:spcBef>
              <a:spcAft>
                <a:spcPts val="0"/>
              </a:spcAft>
              <a:buNone/>
            </a:pPr>
            <a:r>
              <a:rPr lang="en" sz="1200">
                <a:solidFill>
                  <a:schemeClr val="dk1"/>
                </a:solidFill>
              </a:rPr>
              <a:t>But ASCC is so much more. We are family, somos family. If I had to give a personal definition of what ASCC is- it would be that</a:t>
            </a:r>
            <a:endParaRPr sz="1200">
              <a:solidFill>
                <a:schemeClr val="dk1"/>
              </a:solidFill>
            </a:endParaRPr>
          </a:p>
          <a:p>
            <a:pPr marL="0" lvl="0" indent="0" algn="l" rtl="0">
              <a:spcBef>
                <a:spcPts val="0"/>
              </a:spcBef>
              <a:spcAft>
                <a:spcPts val="0"/>
              </a:spcAft>
              <a:buNone/>
            </a:pPr>
            <a:endParaRPr sz="1200">
              <a:solidFill>
                <a:schemeClr val="dk1"/>
              </a:solidFill>
            </a:endParaRPr>
          </a:p>
          <a:p>
            <a:pPr marL="0" lvl="0" indent="0" algn="l" rtl="0">
              <a:spcBef>
                <a:spcPts val="0"/>
              </a:spcBef>
              <a:spcAft>
                <a:spcPts val="0"/>
              </a:spcAft>
              <a:buNone/>
            </a:pPr>
            <a:r>
              <a:rPr lang="en" sz="1200">
                <a:solidFill>
                  <a:schemeClr val="dk1"/>
                </a:solidFill>
              </a:rPr>
              <a:t>Senate is an environment filed with passionate and dedicated, students who lead and work together as a team to spark change at Canada college. We as a senate use our voices and leadership to foster inclusion, positivity, and community to student life.</a:t>
            </a:r>
            <a:endParaRPr sz="1200">
              <a:solidFill>
                <a:schemeClr val="dk1"/>
              </a:solidFill>
            </a:endParaRPr>
          </a:p>
        </p:txBody>
      </p:sp>
    </p:spTree>
    <p:extLst>
      <p:ext uri="{BB962C8B-B14F-4D97-AF65-F5344CB8AC3E}">
        <p14:creationId xmlns:p14="http://schemas.microsoft.com/office/powerpoint/2010/main" val="147054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966b42add8_4_117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9" name="Google Shape;239;g966b42add8_4_11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40998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
        <p:cNvGrpSpPr/>
        <p:nvPr/>
      </p:nvGrpSpPr>
      <p:grpSpPr>
        <a:xfrm>
          <a:off x="0" y="0"/>
          <a:ext cx="0" cy="0"/>
          <a:chOff x="0" y="0"/>
          <a:chExt cx="0" cy="0"/>
        </a:xfrm>
      </p:grpSpPr>
      <p:sp>
        <p:nvSpPr>
          <p:cNvPr id="251" name="Google Shape;251;ge7a64426b6_7_5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2" name="Google Shape;252;ge7a64426b6_7_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04988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e7a64426b6_14_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 name="Google Shape;265;ge7a64426b6_14_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56744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Google Shape;277;g8a1f552b24_0_102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8" name="Google Shape;278;g8a1f552b24_0_10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mmittee members: </a:t>
            </a:r>
            <a:endParaRPr/>
          </a:p>
        </p:txBody>
      </p:sp>
    </p:spTree>
    <p:extLst>
      <p:ext uri="{BB962C8B-B14F-4D97-AF65-F5344CB8AC3E}">
        <p14:creationId xmlns:p14="http://schemas.microsoft.com/office/powerpoint/2010/main" val="4077610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9"/>
        <p:cNvGrpSpPr/>
        <p:nvPr/>
      </p:nvGrpSpPr>
      <p:grpSpPr>
        <a:xfrm>
          <a:off x="0" y="0"/>
          <a:ext cx="0" cy="0"/>
          <a:chOff x="0" y="0"/>
          <a:chExt cx="0" cy="0"/>
        </a:xfrm>
      </p:grpSpPr>
      <p:sp>
        <p:nvSpPr>
          <p:cNvPr id="310" name="Google Shape;310;g8a1f552b24_0_41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1" name="Google Shape;311;g8a1f552b24_0_4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914400" lvl="1" indent="-317500" algn="l" rtl="0">
              <a:lnSpc>
                <a:spcPct val="150000"/>
              </a:lnSpc>
              <a:spcBef>
                <a:spcPts val="0"/>
              </a:spcBef>
              <a:spcAft>
                <a:spcPts val="0"/>
              </a:spcAft>
              <a:buClr>
                <a:srgbClr val="274E13"/>
              </a:buClr>
              <a:buSzPts val="1400"/>
              <a:buFont typeface="Calibri"/>
              <a:buChar char="○"/>
            </a:pPr>
            <a:r>
              <a:rPr lang="en" sz="1400">
                <a:solidFill>
                  <a:srgbClr val="274E13"/>
                </a:solidFill>
                <a:latin typeface="Calibri"/>
                <a:ea typeface="Calibri"/>
                <a:cs typeface="Calibri"/>
                <a:sym typeface="Calibri"/>
              </a:rPr>
              <a:t>Introduce Members -Xitlali</a:t>
            </a:r>
            <a:endParaRPr sz="1400">
              <a:solidFill>
                <a:srgbClr val="274E13"/>
              </a:solidFill>
              <a:latin typeface="Calibri"/>
              <a:ea typeface="Calibri"/>
              <a:cs typeface="Calibri"/>
              <a:sym typeface="Calibri"/>
            </a:endParaRPr>
          </a:p>
          <a:p>
            <a:pPr marL="914400" lvl="1" indent="-317500" algn="l" rtl="0">
              <a:lnSpc>
                <a:spcPct val="150000"/>
              </a:lnSpc>
              <a:spcBef>
                <a:spcPts val="0"/>
              </a:spcBef>
              <a:spcAft>
                <a:spcPts val="0"/>
              </a:spcAft>
              <a:buClr>
                <a:srgbClr val="274E13"/>
              </a:buClr>
              <a:buSzPts val="1400"/>
              <a:buFont typeface="Calibri"/>
              <a:buChar char="○"/>
            </a:pPr>
            <a:r>
              <a:rPr lang="en" sz="1400">
                <a:solidFill>
                  <a:srgbClr val="274E13"/>
                </a:solidFill>
                <a:latin typeface="Calibri"/>
                <a:ea typeface="Calibri"/>
                <a:cs typeface="Calibri"/>
                <a:sym typeface="Calibri"/>
              </a:rPr>
              <a:t>Chairs: Xitlali Curincita, Jeison Velasquez &amp; Upashana Prakash</a:t>
            </a:r>
            <a:endParaRPr sz="1400">
              <a:solidFill>
                <a:srgbClr val="274E13"/>
              </a:solidFill>
              <a:latin typeface="Calibri"/>
              <a:ea typeface="Calibri"/>
              <a:cs typeface="Calibri"/>
              <a:sym typeface="Calibri"/>
            </a:endParaRPr>
          </a:p>
          <a:p>
            <a:pPr marL="914400" lvl="1" indent="-317500" algn="l" rtl="0">
              <a:lnSpc>
                <a:spcPct val="150000"/>
              </a:lnSpc>
              <a:spcBef>
                <a:spcPts val="0"/>
              </a:spcBef>
              <a:spcAft>
                <a:spcPts val="0"/>
              </a:spcAft>
              <a:buClr>
                <a:srgbClr val="274E13"/>
              </a:buClr>
              <a:buSzPts val="1400"/>
              <a:buFont typeface="Calibri"/>
              <a:buChar char="○"/>
            </a:pPr>
            <a:r>
              <a:rPr lang="en" sz="1400">
                <a:solidFill>
                  <a:srgbClr val="274E13"/>
                </a:solidFill>
                <a:latin typeface="Calibri"/>
                <a:ea typeface="Calibri"/>
                <a:cs typeface="Calibri"/>
                <a:sym typeface="Calibri"/>
              </a:rPr>
              <a:t>Members: Diana Castro, Yamini Prasad</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None/>
            </a:pPr>
            <a:r>
              <a:rPr lang="en" sz="1400">
                <a:solidFill>
                  <a:srgbClr val="274E13"/>
                </a:solidFill>
                <a:latin typeface="Calibri"/>
                <a:ea typeface="Calibri"/>
                <a:cs typeface="Calibri"/>
                <a:sym typeface="Calibri"/>
              </a:rPr>
              <a:t>Action- Upashana </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None/>
            </a:pPr>
            <a:r>
              <a:rPr lang="en" sz="1400">
                <a:solidFill>
                  <a:srgbClr val="274E13"/>
                </a:solidFill>
                <a:latin typeface="Calibri"/>
                <a:ea typeface="Calibri"/>
                <a:cs typeface="Calibri"/>
                <a:sym typeface="Calibri"/>
              </a:rPr>
              <a:t>Goals: Xitlali</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None/>
            </a:pPr>
            <a:r>
              <a:rPr lang="en" sz="1400">
                <a:solidFill>
                  <a:srgbClr val="274E13"/>
                </a:solidFill>
                <a:latin typeface="Calibri"/>
                <a:ea typeface="Calibri"/>
                <a:cs typeface="Calibri"/>
                <a:sym typeface="Calibri"/>
              </a:rPr>
              <a:t>	</a:t>
            </a:r>
            <a:endParaRPr/>
          </a:p>
        </p:txBody>
      </p:sp>
    </p:spTree>
    <p:extLst>
      <p:ext uri="{BB962C8B-B14F-4D97-AF65-F5344CB8AC3E}">
        <p14:creationId xmlns:p14="http://schemas.microsoft.com/office/powerpoint/2010/main" val="1116144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2"/>
        <p:cNvGrpSpPr/>
        <p:nvPr/>
      </p:nvGrpSpPr>
      <p:grpSpPr>
        <a:xfrm>
          <a:off x="0" y="0"/>
          <a:ext cx="0" cy="0"/>
          <a:chOff x="0" y="0"/>
          <a:chExt cx="0" cy="0"/>
        </a:xfrm>
      </p:grpSpPr>
      <p:sp>
        <p:nvSpPr>
          <p:cNvPr id="353" name="Google Shape;353;g8a1f552b24_0_4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4" name="Google Shape;354;g8a1f552b24_0_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Continuation of last year’s environmental and mental health initiative, but we decided to separate them to give proper emphasis to these two important causes. </a:t>
            </a:r>
            <a:endParaRPr/>
          </a:p>
        </p:txBody>
      </p:sp>
    </p:spTree>
    <p:extLst>
      <p:ext uri="{BB962C8B-B14F-4D97-AF65-F5344CB8AC3E}">
        <p14:creationId xmlns:p14="http://schemas.microsoft.com/office/powerpoint/2010/main" val="16863280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9"/>
        <p:cNvGrpSpPr/>
        <p:nvPr/>
      </p:nvGrpSpPr>
      <p:grpSpPr>
        <a:xfrm>
          <a:off x="0" y="0"/>
          <a:ext cx="0" cy="0"/>
          <a:chOff x="0" y="0"/>
          <a:chExt cx="0" cy="0"/>
        </a:xfrm>
      </p:grpSpPr>
      <p:sp>
        <p:nvSpPr>
          <p:cNvPr id="360" name="Google Shape;360;g8a1f552b24_0_19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1" name="Google Shape;361;g8a1f552b24_0_19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50000"/>
              </a:lnSpc>
              <a:spcBef>
                <a:spcPts val="0"/>
              </a:spcBef>
              <a:spcAft>
                <a:spcPts val="0"/>
              </a:spcAft>
              <a:buClr>
                <a:schemeClr val="dk1"/>
              </a:buClr>
              <a:buSzPts val="1100"/>
              <a:buFont typeface="Arial"/>
              <a:buNone/>
            </a:pPr>
            <a:r>
              <a:rPr lang="en" sz="1400">
                <a:solidFill>
                  <a:srgbClr val="274E13"/>
                </a:solidFill>
                <a:latin typeface="Calibri"/>
                <a:ea typeface="Calibri"/>
                <a:cs typeface="Calibri"/>
                <a:sym typeface="Calibri"/>
              </a:rPr>
              <a:t>       Goals: Recreate the environment that Cañada students built and make it a place that welcomes students as well as provides resources. We want to make an environment where students feel that they can ask questions and get the answers that they need and make sure that our students aren’t intimidated by the shift back on to campus and can comfortably return to the school dynamic. </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Clr>
                <a:schemeClr val="dk1"/>
              </a:buClr>
              <a:buSzPts val="1100"/>
              <a:buFont typeface="Arial"/>
              <a:buNone/>
            </a:pPr>
            <a:r>
              <a:rPr lang="en" sz="1400">
                <a:solidFill>
                  <a:srgbClr val="274E13"/>
                </a:solidFill>
                <a:latin typeface="Calibri"/>
                <a:ea typeface="Calibri"/>
                <a:cs typeface="Calibri"/>
                <a:sym typeface="Calibri"/>
              </a:rPr>
              <a:t>Rengage students back to campus </a:t>
            </a:r>
            <a:endParaRPr sz="1400">
              <a:solidFill>
                <a:srgbClr val="274E13"/>
              </a:solidFill>
              <a:latin typeface="Calibri"/>
              <a:ea typeface="Calibri"/>
              <a:cs typeface="Calibri"/>
              <a:sym typeface="Calibri"/>
            </a:endParaRPr>
          </a:p>
          <a:p>
            <a:pPr marL="0" lvl="0" indent="0" algn="l" rtl="0">
              <a:lnSpc>
                <a:spcPct val="150000"/>
              </a:lnSpc>
              <a:spcBef>
                <a:spcPts val="0"/>
              </a:spcBef>
              <a:spcAft>
                <a:spcPts val="0"/>
              </a:spcAft>
              <a:buClr>
                <a:schemeClr val="dk1"/>
              </a:buClr>
              <a:buSzPts val="1100"/>
              <a:buFont typeface="Arial"/>
              <a:buNone/>
            </a:pPr>
            <a:r>
              <a:rPr lang="en" sz="1400">
                <a:solidFill>
                  <a:srgbClr val="274E13"/>
                </a:solidFill>
                <a:latin typeface="Calibri"/>
                <a:ea typeface="Calibri"/>
                <a:cs typeface="Calibri"/>
                <a:sym typeface="Calibri"/>
              </a:rPr>
              <a:t>	Issues: Students who are struggling with getting back on campus or who haven’t been on campus, haven’t formed relationships with their peers or professors which can prevent them from having proper communication and networking connections in the future</a:t>
            </a:r>
            <a:r>
              <a:rPr lang="en">
                <a:solidFill>
                  <a:schemeClr val="dk1"/>
                </a:solidFill>
              </a:rPr>
              <a:t>. </a:t>
            </a:r>
            <a:endParaRPr>
              <a:solidFill>
                <a:schemeClr val="dk1"/>
              </a:solidFill>
            </a:endParaRPr>
          </a:p>
          <a:p>
            <a:pPr marL="0" lvl="0" indent="0" algn="l" rtl="0">
              <a:lnSpc>
                <a:spcPct val="150000"/>
              </a:lnSpc>
              <a:spcBef>
                <a:spcPts val="0"/>
              </a:spcBef>
              <a:spcAft>
                <a:spcPts val="0"/>
              </a:spcAft>
              <a:buClr>
                <a:schemeClr val="dk1"/>
              </a:buClr>
              <a:buSzPts val="1100"/>
              <a:buFont typeface="Arial"/>
              <a:buNone/>
            </a:pPr>
            <a:endParaRPr>
              <a:solidFill>
                <a:schemeClr val="dk1"/>
              </a:solidFill>
            </a:endParaRPr>
          </a:p>
          <a:p>
            <a:pPr marL="0" lvl="0" indent="0" algn="l" rtl="0">
              <a:lnSpc>
                <a:spcPct val="150000"/>
              </a:lnSpc>
              <a:spcBef>
                <a:spcPts val="0"/>
              </a:spcBef>
              <a:spcAft>
                <a:spcPts val="0"/>
              </a:spcAft>
              <a:buClr>
                <a:schemeClr val="dk1"/>
              </a:buClr>
              <a:buSzPts val="1100"/>
              <a:buFont typeface="Arial"/>
              <a:buNone/>
            </a:pPr>
            <a:r>
              <a:rPr lang="en" sz="1400">
                <a:solidFill>
                  <a:srgbClr val="274E13"/>
                </a:solidFill>
                <a:latin typeface="Calibri"/>
                <a:ea typeface="Calibri"/>
                <a:cs typeface="Calibri"/>
                <a:sym typeface="Calibri"/>
              </a:rPr>
              <a:t>	Action: Moving to potentially have an on-campus program that will help students get used to being on campus as well as work with the website that was established by the former senate to provide students with outlets and access to resources that they may need. </a:t>
            </a:r>
            <a:endParaRPr/>
          </a:p>
        </p:txBody>
      </p:sp>
    </p:spTree>
    <p:extLst>
      <p:ext uri="{BB962C8B-B14F-4D97-AF65-F5344CB8AC3E}">
        <p14:creationId xmlns:p14="http://schemas.microsoft.com/office/powerpoint/2010/main" val="5423926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hyperlink" Target="https://www.freepik.com/" TargetMode="External"/><Relationship Id="rId5" Type="http://schemas.openxmlformats.org/officeDocument/2006/relationships/hyperlink" Target="https://www.flaticon.com/" TargetMode="External"/><Relationship Id="rId4" Type="http://schemas.openxmlformats.org/officeDocument/2006/relationships/hyperlink" Target="https://slidesgo.com/" TargetMode="Externa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370693" y="359833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5997682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3795" y="5108728"/>
            <a:ext cx="10353762" cy="682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002829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6519813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39090843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734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en-US"/>
              <a:t>Click to edit Master title style</a:t>
            </a:r>
            <a:endParaRPr lang="en-US" dirty="0"/>
          </a:p>
        </p:txBody>
      </p:sp>
      <p:sp>
        <p:nvSpPr>
          <p:cNvPr id="7" name="Text Placeholder 2"/>
          <p:cNvSpPr>
            <a:spLocks noGrp="1"/>
          </p:cNvSpPr>
          <p:nvPr>
            <p:ph type="body" idx="1"/>
          </p:nvPr>
        </p:nvSpPr>
        <p:spPr>
          <a:xfrm>
            <a:off x="913795"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91379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446711"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444143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966572"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966572"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1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3268552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913795" y="4480368"/>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441435" y="4480367"/>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7966572" y="4480365"/>
            <a:ext cx="3300984" cy="131083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72DB0C44-5B28-495E-A020-6785C9410D38}" type="datetimeFigureOut">
              <a:rPr lang="en-US" smtClean="0"/>
              <a:t>8/1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7647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2885844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3068" y="609599"/>
            <a:ext cx="2284487" cy="5181601"/>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913796" y="609599"/>
            <a:ext cx="7916872" cy="5181601"/>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9748553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lt2"/>
        </a:solidFill>
        <a:effectLst/>
      </p:bgPr>
    </p:bg>
    <p:spTree>
      <p:nvGrpSpPr>
        <p:cNvPr id="1" name="Shape 8"/>
        <p:cNvGrpSpPr/>
        <p:nvPr/>
      </p:nvGrpSpPr>
      <p:grpSpPr>
        <a:xfrm>
          <a:off x="0" y="0"/>
          <a:ext cx="0" cy="0"/>
          <a:chOff x="0" y="0"/>
          <a:chExt cx="0" cy="0"/>
        </a:xfrm>
      </p:grpSpPr>
      <p:pic>
        <p:nvPicPr>
          <p:cNvPr id="9" name="Google Shape;9;p2"/>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pic>
        <p:nvPicPr>
          <p:cNvPr id="10" name="Google Shape;10;p2"/>
          <p:cNvPicPr preferRelativeResize="0"/>
          <p:nvPr/>
        </p:nvPicPr>
        <p:blipFill>
          <a:blip r:embed="rId3">
            <a:alphaModFix amt="55000"/>
          </a:blip>
          <a:stretch>
            <a:fillRect/>
          </a:stretch>
        </p:blipFill>
        <p:spPr>
          <a:xfrm>
            <a:off x="-4" y="0"/>
            <a:ext cx="4302967" cy="4440533"/>
          </a:xfrm>
          <a:prstGeom prst="rect">
            <a:avLst/>
          </a:prstGeom>
          <a:noFill/>
          <a:ln>
            <a:noFill/>
          </a:ln>
        </p:spPr>
      </p:pic>
      <p:sp>
        <p:nvSpPr>
          <p:cNvPr id="11" name="Google Shape;11;p2"/>
          <p:cNvSpPr txBox="1">
            <a:spLocks noGrp="1"/>
          </p:cNvSpPr>
          <p:nvPr>
            <p:ph type="ctrTitle"/>
          </p:nvPr>
        </p:nvSpPr>
        <p:spPr>
          <a:xfrm>
            <a:off x="5638300" y="1717517"/>
            <a:ext cx="5601200" cy="2467600"/>
          </a:xfrm>
          <a:prstGeom prst="rect">
            <a:avLst/>
          </a:prstGeom>
        </p:spPr>
        <p:txBody>
          <a:bodyPr spcFirstLastPara="1" wrap="square" lIns="91425" tIns="91425" rIns="91425" bIns="91425" anchor="ctr" anchorCtr="0">
            <a:noAutofit/>
          </a:bodyPr>
          <a:lstStyle>
            <a:lvl1pPr lvl="0" algn="r">
              <a:spcBef>
                <a:spcPts val="0"/>
              </a:spcBef>
              <a:spcAft>
                <a:spcPts val="0"/>
              </a:spcAft>
              <a:buSzPts val="4800"/>
              <a:buNone/>
              <a:defRPr sz="8133">
                <a:latin typeface="Libre Baskerville"/>
                <a:ea typeface="Libre Baskerville"/>
                <a:cs typeface="Libre Baskerville"/>
                <a:sym typeface="Libre Baskerville"/>
              </a:defRPr>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2" name="Google Shape;12;p2"/>
          <p:cNvSpPr txBox="1">
            <a:spLocks noGrp="1"/>
          </p:cNvSpPr>
          <p:nvPr>
            <p:ph type="subTitle" idx="1"/>
          </p:nvPr>
        </p:nvSpPr>
        <p:spPr>
          <a:xfrm>
            <a:off x="7417033" y="4083684"/>
            <a:ext cx="3822800" cy="1056800"/>
          </a:xfrm>
          <a:prstGeom prst="rect">
            <a:avLst/>
          </a:prstGeom>
        </p:spPr>
        <p:txBody>
          <a:bodyPr spcFirstLastPara="1" wrap="square" lIns="91425" tIns="91425" rIns="91425" bIns="91425" anchor="t" anchorCtr="0">
            <a:noAutofit/>
          </a:bodyPr>
          <a:lstStyle>
            <a:lvl1pPr lvl="0" algn="r">
              <a:lnSpc>
                <a:spcPct val="100000"/>
              </a:lnSpc>
              <a:spcBef>
                <a:spcPts val="0"/>
              </a:spcBef>
              <a:spcAft>
                <a:spcPts val="0"/>
              </a:spcAft>
              <a:buClr>
                <a:schemeClr val="accent2"/>
              </a:buClr>
              <a:buSzPts val="1800"/>
              <a:buNone/>
              <a:defRPr/>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3" name="Google Shape;13;p2"/>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8668531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bg>
      <p:bgPr>
        <a:solidFill>
          <a:schemeClr val="lt2"/>
        </a:solidFill>
        <a:effectLst/>
      </p:bgPr>
    </p:bg>
    <p:spTree>
      <p:nvGrpSpPr>
        <p:cNvPr id="1" name="Shape 14"/>
        <p:cNvGrpSpPr/>
        <p:nvPr/>
      </p:nvGrpSpPr>
      <p:grpSpPr>
        <a:xfrm>
          <a:off x="0" y="0"/>
          <a:ext cx="0" cy="0"/>
          <a:chOff x="0" y="0"/>
          <a:chExt cx="0" cy="0"/>
        </a:xfrm>
      </p:grpSpPr>
      <p:pic>
        <p:nvPicPr>
          <p:cNvPr id="15" name="Google Shape;15;p3"/>
          <p:cNvPicPr preferRelativeResize="0"/>
          <p:nvPr/>
        </p:nvPicPr>
        <p:blipFill>
          <a:blip r:embed="rId2">
            <a:alphaModFix amt="55000"/>
          </a:blip>
          <a:stretch>
            <a:fillRect/>
          </a:stretch>
        </p:blipFill>
        <p:spPr>
          <a:xfrm>
            <a:off x="7889030" y="0"/>
            <a:ext cx="4302967" cy="4440533"/>
          </a:xfrm>
          <a:prstGeom prst="rect">
            <a:avLst/>
          </a:prstGeom>
          <a:noFill/>
          <a:ln>
            <a:noFill/>
          </a:ln>
        </p:spPr>
      </p:pic>
      <p:sp>
        <p:nvSpPr>
          <p:cNvPr id="16" name="Google Shape;16;p3"/>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7" name="Google Shape;17;p3"/>
          <p:cNvSpPr txBox="1">
            <a:spLocks noGrp="1"/>
          </p:cNvSpPr>
          <p:nvPr>
            <p:ph type="title"/>
          </p:nvPr>
        </p:nvSpPr>
        <p:spPr>
          <a:xfrm>
            <a:off x="952167" y="2096467"/>
            <a:ext cx="4331200" cy="22408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50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18" name="Google Shape;18;p3"/>
          <p:cNvSpPr txBox="1">
            <a:spLocks noGrp="1"/>
          </p:cNvSpPr>
          <p:nvPr>
            <p:ph type="title" idx="2"/>
          </p:nvPr>
        </p:nvSpPr>
        <p:spPr>
          <a:xfrm>
            <a:off x="952167" y="725267"/>
            <a:ext cx="1905600" cy="1168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2400"/>
              <a:buNone/>
              <a:defRPr sz="8000">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19" name="Google Shape;19;p3"/>
          <p:cNvSpPr txBox="1">
            <a:spLocks noGrp="1"/>
          </p:cNvSpPr>
          <p:nvPr>
            <p:ph type="subTitle" idx="1"/>
          </p:nvPr>
        </p:nvSpPr>
        <p:spPr>
          <a:xfrm>
            <a:off x="952167" y="4441700"/>
            <a:ext cx="3480400" cy="8296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None/>
              <a:defRPr sz="2133"/>
            </a:lvl1pPr>
            <a:lvl2pPr lvl="1" rtl="0">
              <a:lnSpc>
                <a:spcPct val="100000"/>
              </a:lnSpc>
              <a:spcBef>
                <a:spcPts val="0"/>
              </a:spcBef>
              <a:spcAft>
                <a:spcPts val="0"/>
              </a:spcAft>
              <a:buNone/>
              <a:defRPr sz="2133"/>
            </a:lvl2pPr>
            <a:lvl3pPr lvl="2" rtl="0">
              <a:lnSpc>
                <a:spcPct val="100000"/>
              </a:lnSpc>
              <a:spcBef>
                <a:spcPts val="0"/>
              </a:spcBef>
              <a:spcAft>
                <a:spcPts val="0"/>
              </a:spcAft>
              <a:buNone/>
              <a:defRPr sz="2133"/>
            </a:lvl3pPr>
            <a:lvl4pPr lvl="3" rtl="0">
              <a:lnSpc>
                <a:spcPct val="100000"/>
              </a:lnSpc>
              <a:spcBef>
                <a:spcPts val="0"/>
              </a:spcBef>
              <a:spcAft>
                <a:spcPts val="0"/>
              </a:spcAft>
              <a:buNone/>
              <a:defRPr sz="2133"/>
            </a:lvl4pPr>
            <a:lvl5pPr lvl="4" rtl="0">
              <a:lnSpc>
                <a:spcPct val="100000"/>
              </a:lnSpc>
              <a:spcBef>
                <a:spcPts val="0"/>
              </a:spcBef>
              <a:spcAft>
                <a:spcPts val="0"/>
              </a:spcAft>
              <a:buNone/>
              <a:defRPr sz="2133"/>
            </a:lvl5pPr>
            <a:lvl6pPr lvl="5" rtl="0">
              <a:lnSpc>
                <a:spcPct val="100000"/>
              </a:lnSpc>
              <a:spcBef>
                <a:spcPts val="0"/>
              </a:spcBef>
              <a:spcAft>
                <a:spcPts val="0"/>
              </a:spcAft>
              <a:buNone/>
              <a:defRPr sz="2133"/>
            </a:lvl6pPr>
            <a:lvl7pPr lvl="6" rtl="0">
              <a:lnSpc>
                <a:spcPct val="100000"/>
              </a:lnSpc>
              <a:spcBef>
                <a:spcPts val="0"/>
              </a:spcBef>
              <a:spcAft>
                <a:spcPts val="0"/>
              </a:spcAft>
              <a:buNone/>
              <a:defRPr sz="2133"/>
            </a:lvl7pPr>
            <a:lvl8pPr lvl="7" rtl="0">
              <a:lnSpc>
                <a:spcPct val="100000"/>
              </a:lnSpc>
              <a:spcBef>
                <a:spcPts val="0"/>
              </a:spcBef>
              <a:spcAft>
                <a:spcPts val="0"/>
              </a:spcAft>
              <a:buNone/>
              <a:defRPr sz="2133"/>
            </a:lvl8pPr>
            <a:lvl9pPr lvl="8" rtl="0">
              <a:lnSpc>
                <a:spcPct val="100000"/>
              </a:lnSpc>
              <a:spcBef>
                <a:spcPts val="0"/>
              </a:spcBef>
              <a:spcAft>
                <a:spcPts val="0"/>
              </a:spcAft>
              <a:buNone/>
              <a:defRPr sz="2133"/>
            </a:lvl9pPr>
          </a:lstStyle>
          <a:p>
            <a:endParaRPr/>
          </a:p>
        </p:txBody>
      </p:sp>
    </p:spTree>
    <p:extLst>
      <p:ext uri="{BB962C8B-B14F-4D97-AF65-F5344CB8AC3E}">
        <p14:creationId xmlns:p14="http://schemas.microsoft.com/office/powerpoint/2010/main" val="26766682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DB0C44-5B28-495E-A020-6785C9410D38}" type="datetimeFigureOut">
              <a:rPr lang="en-US" smtClean="0"/>
              <a:t>8/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8274098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body" type="tx">
  <p:cSld name="Title and body">
    <p:bg>
      <p:bgPr>
        <a:solidFill>
          <a:schemeClr val="lt2"/>
        </a:solidFill>
        <a:effectLst/>
      </p:bgPr>
    </p:bg>
    <p:spTree>
      <p:nvGrpSpPr>
        <p:cNvPr id="1" name="Shape 20"/>
        <p:cNvGrpSpPr/>
        <p:nvPr/>
      </p:nvGrpSpPr>
      <p:grpSpPr>
        <a:xfrm>
          <a:off x="0" y="0"/>
          <a:ext cx="0" cy="0"/>
          <a:chOff x="0" y="0"/>
          <a:chExt cx="0" cy="0"/>
        </a:xfrm>
      </p:grpSpPr>
      <p:pic>
        <p:nvPicPr>
          <p:cNvPr id="21" name="Google Shape;21;p4"/>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22" name="Google Shape;22;p4"/>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23" name="Google Shape;23;p4"/>
          <p:cNvSpPr txBox="1">
            <a:spLocks noGrp="1"/>
          </p:cNvSpPr>
          <p:nvPr>
            <p:ph type="title"/>
          </p:nvPr>
        </p:nvSpPr>
        <p:spPr>
          <a:xfrm>
            <a:off x="952167" y="725267"/>
            <a:ext cx="10288000" cy="491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24" name="Google Shape;24;p4"/>
          <p:cNvSpPr txBox="1">
            <a:spLocks noGrp="1"/>
          </p:cNvSpPr>
          <p:nvPr>
            <p:ph type="body" idx="1"/>
          </p:nvPr>
        </p:nvSpPr>
        <p:spPr>
          <a:xfrm>
            <a:off x="952000" y="1419167"/>
            <a:ext cx="10288000" cy="4284800"/>
          </a:xfrm>
          <a:prstGeom prst="rect">
            <a:avLst/>
          </a:prstGeom>
        </p:spPr>
        <p:txBody>
          <a:bodyPr spcFirstLastPara="1" wrap="square" lIns="91425" tIns="91425" rIns="91425" bIns="91425" anchor="t" anchorCtr="0">
            <a:noAutofit/>
          </a:bodyPr>
          <a:lstStyle>
            <a:lvl1pPr marL="609585" lvl="0" indent="-414856" rtl="0">
              <a:spcBef>
                <a:spcPts val="0"/>
              </a:spcBef>
              <a:spcAft>
                <a:spcPts val="0"/>
              </a:spcAft>
              <a:buSzPts val="1300"/>
              <a:buFont typeface="Abel"/>
              <a:buChar char="●"/>
              <a:defRPr sz="1733"/>
            </a:lvl1pPr>
            <a:lvl2pPr marL="1219170" lvl="1" indent="-414856" rtl="0">
              <a:spcBef>
                <a:spcPts val="2133"/>
              </a:spcBef>
              <a:spcAft>
                <a:spcPts val="0"/>
              </a:spcAft>
              <a:buSzPts val="1300"/>
              <a:buFont typeface="Roboto Condensed"/>
              <a:buChar char="○"/>
              <a:defRPr sz="1733"/>
            </a:lvl2pPr>
            <a:lvl3pPr marL="1828754" lvl="2" indent="-414856" rtl="0">
              <a:spcBef>
                <a:spcPts val="2133"/>
              </a:spcBef>
              <a:spcAft>
                <a:spcPts val="0"/>
              </a:spcAft>
              <a:buSzPts val="1300"/>
              <a:buFont typeface="Roboto Condensed"/>
              <a:buChar char="■"/>
              <a:defRPr sz="1733"/>
            </a:lvl3pPr>
            <a:lvl4pPr marL="2438339" lvl="3" indent="-414856" rtl="0">
              <a:spcBef>
                <a:spcPts val="2133"/>
              </a:spcBef>
              <a:spcAft>
                <a:spcPts val="0"/>
              </a:spcAft>
              <a:buSzPts val="1300"/>
              <a:buFont typeface="Roboto Condensed"/>
              <a:buChar char="●"/>
              <a:defRPr sz="1733"/>
            </a:lvl4pPr>
            <a:lvl5pPr marL="3047924" lvl="4" indent="-414856" rtl="0">
              <a:spcBef>
                <a:spcPts val="2133"/>
              </a:spcBef>
              <a:spcAft>
                <a:spcPts val="0"/>
              </a:spcAft>
              <a:buSzPts val="1300"/>
              <a:buFont typeface="Roboto Condensed"/>
              <a:buChar char="○"/>
              <a:defRPr sz="1733"/>
            </a:lvl5pPr>
            <a:lvl6pPr marL="3657509" lvl="5" indent="-414856" rtl="0">
              <a:spcBef>
                <a:spcPts val="2133"/>
              </a:spcBef>
              <a:spcAft>
                <a:spcPts val="0"/>
              </a:spcAft>
              <a:buSzPts val="1300"/>
              <a:buFont typeface="Roboto Condensed"/>
              <a:buChar char="■"/>
              <a:defRPr sz="1733"/>
            </a:lvl6pPr>
            <a:lvl7pPr marL="4267093" lvl="6" indent="-414856" rtl="0">
              <a:spcBef>
                <a:spcPts val="2133"/>
              </a:spcBef>
              <a:spcAft>
                <a:spcPts val="0"/>
              </a:spcAft>
              <a:buSzPts val="1300"/>
              <a:buFont typeface="Roboto Condensed"/>
              <a:buChar char="●"/>
              <a:defRPr sz="1733"/>
            </a:lvl7pPr>
            <a:lvl8pPr marL="4876678" lvl="7" indent="-414856" rtl="0">
              <a:spcBef>
                <a:spcPts val="2133"/>
              </a:spcBef>
              <a:spcAft>
                <a:spcPts val="0"/>
              </a:spcAft>
              <a:buSzPts val="1300"/>
              <a:buFont typeface="Roboto Condensed"/>
              <a:buChar char="○"/>
              <a:defRPr sz="1733"/>
            </a:lvl8pPr>
            <a:lvl9pPr marL="5486263" lvl="8" indent="-414856" rtl="0">
              <a:spcBef>
                <a:spcPts val="2133"/>
              </a:spcBef>
              <a:spcAft>
                <a:spcPts val="2133"/>
              </a:spcAft>
              <a:buSzPts val="1300"/>
              <a:buFont typeface="Roboto Condensed"/>
              <a:buChar char="■"/>
              <a:defRPr sz="1733"/>
            </a:lvl9pPr>
          </a:lstStyle>
          <a:p>
            <a:endParaRPr/>
          </a:p>
        </p:txBody>
      </p:sp>
      <p:sp>
        <p:nvSpPr>
          <p:cNvPr id="25" name="Google Shape;25;p4"/>
          <p:cNvSpPr/>
          <p:nvPr/>
        </p:nvSpPr>
        <p:spPr>
          <a:xfrm>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5001311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bg>
      <p:bgPr>
        <a:solidFill>
          <a:schemeClr val="lt2"/>
        </a:solidFill>
        <a:effectLst/>
      </p:bgPr>
    </p:bg>
    <p:spTree>
      <p:nvGrpSpPr>
        <p:cNvPr id="1" name="Shape 26"/>
        <p:cNvGrpSpPr/>
        <p:nvPr/>
      </p:nvGrpSpPr>
      <p:grpSpPr>
        <a:xfrm>
          <a:off x="0" y="0"/>
          <a:ext cx="0" cy="0"/>
          <a:chOff x="0" y="0"/>
          <a:chExt cx="0" cy="0"/>
        </a:xfrm>
      </p:grpSpPr>
      <p:pic>
        <p:nvPicPr>
          <p:cNvPr id="27" name="Google Shape;27;p5"/>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28" name="Google Shape;28;p5"/>
          <p:cNvSpPr txBox="1">
            <a:spLocks noGrp="1"/>
          </p:cNvSpPr>
          <p:nvPr>
            <p:ph type="subTitle" idx="1"/>
          </p:nvPr>
        </p:nvSpPr>
        <p:spPr>
          <a:xfrm>
            <a:off x="2214641" y="3898996"/>
            <a:ext cx="3170000" cy="950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29" name="Google Shape;29;p5"/>
          <p:cNvSpPr txBox="1">
            <a:spLocks noGrp="1"/>
          </p:cNvSpPr>
          <p:nvPr>
            <p:ph type="subTitle" idx="2"/>
          </p:nvPr>
        </p:nvSpPr>
        <p:spPr>
          <a:xfrm>
            <a:off x="6807359" y="3898996"/>
            <a:ext cx="3170000" cy="950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30" name="Google Shape;30;p5"/>
          <p:cNvSpPr txBox="1">
            <a:spLocks noGrp="1"/>
          </p:cNvSpPr>
          <p:nvPr>
            <p:ph type="title"/>
          </p:nvPr>
        </p:nvSpPr>
        <p:spPr>
          <a:xfrm>
            <a:off x="2599641" y="3308196"/>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31" name="Google Shape;31;p5"/>
          <p:cNvSpPr txBox="1">
            <a:spLocks noGrp="1"/>
          </p:cNvSpPr>
          <p:nvPr>
            <p:ph type="title" idx="3"/>
          </p:nvPr>
        </p:nvSpPr>
        <p:spPr>
          <a:xfrm>
            <a:off x="7192359" y="3308196"/>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32" name="Google Shape;32;p5"/>
          <p:cNvSpPr txBox="1">
            <a:spLocks noGrp="1"/>
          </p:cNvSpPr>
          <p:nvPr>
            <p:ph type="title" idx="4"/>
          </p:nvPr>
        </p:nvSpPr>
        <p:spPr>
          <a:xfrm>
            <a:off x="952167" y="729100"/>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33" name="Google Shape;33;p5"/>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40393683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only" type="titleOnly">
  <p:cSld name="Title only">
    <p:bg>
      <p:bgPr>
        <a:solidFill>
          <a:schemeClr val="lt2"/>
        </a:solidFill>
        <a:effectLst/>
      </p:bgPr>
    </p:bg>
    <p:spTree>
      <p:nvGrpSpPr>
        <p:cNvPr id="1" name="Shape 34"/>
        <p:cNvGrpSpPr/>
        <p:nvPr/>
      </p:nvGrpSpPr>
      <p:grpSpPr>
        <a:xfrm>
          <a:off x="0" y="0"/>
          <a:ext cx="0" cy="0"/>
          <a:chOff x="0" y="0"/>
          <a:chExt cx="0" cy="0"/>
        </a:xfrm>
      </p:grpSpPr>
      <p:pic>
        <p:nvPicPr>
          <p:cNvPr id="35" name="Google Shape;35;p6"/>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36" name="Google Shape;36;p6"/>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37" name="Google Shape;37;p6"/>
          <p:cNvSpPr txBox="1">
            <a:spLocks noGrp="1"/>
          </p:cNvSpPr>
          <p:nvPr>
            <p:ph type="title"/>
          </p:nvPr>
        </p:nvSpPr>
        <p:spPr>
          <a:xfrm>
            <a:off x="952167" y="729100"/>
            <a:ext cx="10288000" cy="4876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38" name="Google Shape;38;p6"/>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7253052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9"/>
        <p:cNvGrpSpPr/>
        <p:nvPr/>
      </p:nvGrpSpPr>
      <p:grpSpPr>
        <a:xfrm>
          <a:off x="0" y="0"/>
          <a:ext cx="0" cy="0"/>
          <a:chOff x="0" y="0"/>
          <a:chExt cx="0" cy="0"/>
        </a:xfrm>
      </p:grpSpPr>
      <p:pic>
        <p:nvPicPr>
          <p:cNvPr id="40" name="Google Shape;40;p7"/>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41" name="Google Shape;41;p7"/>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42" name="Google Shape;42;p7"/>
          <p:cNvSpPr txBox="1">
            <a:spLocks noGrp="1"/>
          </p:cNvSpPr>
          <p:nvPr>
            <p:ph type="body" idx="1"/>
          </p:nvPr>
        </p:nvSpPr>
        <p:spPr>
          <a:xfrm>
            <a:off x="952167" y="1756800"/>
            <a:ext cx="6617200" cy="3344400"/>
          </a:xfrm>
          <a:prstGeom prst="rect">
            <a:avLst/>
          </a:prstGeom>
        </p:spPr>
        <p:txBody>
          <a:bodyPr spcFirstLastPara="1" wrap="square" lIns="91425" tIns="91425" rIns="91425" bIns="91425" anchor="ctr" anchorCtr="0">
            <a:noAutofit/>
          </a:bodyPr>
          <a:lstStyle>
            <a:lvl1pPr marL="609585" lvl="0" indent="-414856" rtl="0">
              <a:lnSpc>
                <a:spcPct val="100000"/>
              </a:lnSpc>
              <a:spcBef>
                <a:spcPts val="0"/>
              </a:spcBef>
              <a:spcAft>
                <a:spcPts val="0"/>
              </a:spcAft>
              <a:buSzPts val="1300"/>
              <a:buChar char="●"/>
              <a:defRPr sz="1867"/>
            </a:lvl1pPr>
            <a:lvl2pPr marL="1219170" lvl="1" indent="-414856" rtl="0">
              <a:spcBef>
                <a:spcPts val="0"/>
              </a:spcBef>
              <a:spcAft>
                <a:spcPts val="0"/>
              </a:spcAft>
              <a:buSzPts val="1300"/>
              <a:buChar char="○"/>
              <a:defRPr sz="1733"/>
            </a:lvl2pPr>
            <a:lvl3pPr marL="1828754" lvl="2" indent="-414856" rtl="0">
              <a:spcBef>
                <a:spcPts val="2133"/>
              </a:spcBef>
              <a:spcAft>
                <a:spcPts val="0"/>
              </a:spcAft>
              <a:buSzPts val="1300"/>
              <a:buChar char="■"/>
              <a:defRPr sz="1733"/>
            </a:lvl3pPr>
            <a:lvl4pPr marL="2438339" lvl="3" indent="-414856" rtl="0">
              <a:spcBef>
                <a:spcPts val="2133"/>
              </a:spcBef>
              <a:spcAft>
                <a:spcPts val="0"/>
              </a:spcAft>
              <a:buSzPts val="1300"/>
              <a:buChar char="●"/>
              <a:defRPr sz="1733"/>
            </a:lvl4pPr>
            <a:lvl5pPr marL="3047924" lvl="4" indent="-414856" rtl="0">
              <a:spcBef>
                <a:spcPts val="2133"/>
              </a:spcBef>
              <a:spcAft>
                <a:spcPts val="0"/>
              </a:spcAft>
              <a:buSzPts val="1300"/>
              <a:buChar char="○"/>
              <a:defRPr sz="1733"/>
            </a:lvl5pPr>
            <a:lvl6pPr marL="3657509" lvl="5" indent="-414856" rtl="0">
              <a:spcBef>
                <a:spcPts val="2133"/>
              </a:spcBef>
              <a:spcAft>
                <a:spcPts val="0"/>
              </a:spcAft>
              <a:buSzPts val="1300"/>
              <a:buChar char="■"/>
              <a:defRPr sz="1733"/>
            </a:lvl6pPr>
            <a:lvl7pPr marL="4267093" lvl="6" indent="-414856" rtl="0">
              <a:spcBef>
                <a:spcPts val="2133"/>
              </a:spcBef>
              <a:spcAft>
                <a:spcPts val="0"/>
              </a:spcAft>
              <a:buSzPts val="1300"/>
              <a:buChar char="●"/>
              <a:defRPr sz="1733"/>
            </a:lvl7pPr>
            <a:lvl8pPr marL="4876678" lvl="7" indent="-414856" rtl="0">
              <a:spcBef>
                <a:spcPts val="2133"/>
              </a:spcBef>
              <a:spcAft>
                <a:spcPts val="0"/>
              </a:spcAft>
              <a:buSzPts val="1300"/>
              <a:buChar char="○"/>
              <a:defRPr sz="1733"/>
            </a:lvl8pPr>
            <a:lvl9pPr marL="5486263" lvl="8" indent="-414856" rtl="0">
              <a:spcBef>
                <a:spcPts val="2133"/>
              </a:spcBef>
              <a:spcAft>
                <a:spcPts val="2133"/>
              </a:spcAft>
              <a:buSzPts val="1300"/>
              <a:buChar char="■"/>
              <a:defRPr sz="1733"/>
            </a:lvl9pPr>
          </a:lstStyle>
          <a:p>
            <a:endParaRPr/>
          </a:p>
        </p:txBody>
      </p:sp>
      <p:sp>
        <p:nvSpPr>
          <p:cNvPr id="43" name="Google Shape;43;p7"/>
          <p:cNvSpPr txBox="1">
            <a:spLocks noGrp="1"/>
          </p:cNvSpPr>
          <p:nvPr>
            <p:ph type="title"/>
          </p:nvPr>
        </p:nvSpPr>
        <p:spPr>
          <a:xfrm>
            <a:off x="952167" y="725267"/>
            <a:ext cx="10287600" cy="491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44" name="Google Shape;44;p7"/>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6444212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lt2"/>
        </a:solidFill>
        <a:effectLst/>
      </p:bgPr>
    </p:bg>
    <p:spTree>
      <p:nvGrpSpPr>
        <p:cNvPr id="1" name="Shape 45"/>
        <p:cNvGrpSpPr/>
        <p:nvPr/>
      </p:nvGrpSpPr>
      <p:grpSpPr>
        <a:xfrm>
          <a:off x="0" y="0"/>
          <a:ext cx="0" cy="0"/>
          <a:chOff x="0" y="0"/>
          <a:chExt cx="0" cy="0"/>
        </a:xfrm>
      </p:grpSpPr>
      <p:pic>
        <p:nvPicPr>
          <p:cNvPr id="46" name="Google Shape;46;p8"/>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47" name="Google Shape;47;p8"/>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8" name="Google Shape;48;p8"/>
          <p:cNvSpPr txBox="1">
            <a:spLocks noGrp="1"/>
          </p:cNvSpPr>
          <p:nvPr>
            <p:ph type="title"/>
          </p:nvPr>
        </p:nvSpPr>
        <p:spPr>
          <a:xfrm>
            <a:off x="2974400" y="1739400"/>
            <a:ext cx="6243200" cy="33792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9333"/>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Tree>
    <p:extLst>
      <p:ext uri="{BB962C8B-B14F-4D97-AF65-F5344CB8AC3E}">
        <p14:creationId xmlns:p14="http://schemas.microsoft.com/office/powerpoint/2010/main" val="8381609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bg>
      <p:bgPr>
        <a:solidFill>
          <a:schemeClr val="lt2"/>
        </a:solidFill>
        <a:effectLst/>
      </p:bgPr>
    </p:bg>
    <p:spTree>
      <p:nvGrpSpPr>
        <p:cNvPr id="1" name="Shape 49"/>
        <p:cNvGrpSpPr/>
        <p:nvPr/>
      </p:nvGrpSpPr>
      <p:grpSpPr>
        <a:xfrm>
          <a:off x="0" y="0"/>
          <a:ext cx="0" cy="0"/>
          <a:chOff x="0" y="0"/>
          <a:chExt cx="0" cy="0"/>
        </a:xfrm>
      </p:grpSpPr>
      <p:pic>
        <p:nvPicPr>
          <p:cNvPr id="50" name="Google Shape;50;p9"/>
          <p:cNvPicPr preferRelativeResize="0"/>
          <p:nvPr/>
        </p:nvPicPr>
        <p:blipFill>
          <a:blip r:embed="rId2">
            <a:alphaModFix amt="55000"/>
          </a:blip>
          <a:stretch>
            <a:fillRect/>
          </a:stretch>
        </p:blipFill>
        <p:spPr>
          <a:xfrm flipH="1">
            <a:off x="3944481" y="2372967"/>
            <a:ext cx="4302967" cy="4440533"/>
          </a:xfrm>
          <a:prstGeom prst="rect">
            <a:avLst/>
          </a:prstGeom>
          <a:noFill/>
          <a:ln>
            <a:noFill/>
          </a:ln>
        </p:spPr>
      </p:pic>
      <p:sp>
        <p:nvSpPr>
          <p:cNvPr id="51" name="Google Shape;51;p9"/>
          <p:cNvSpPr txBox="1">
            <a:spLocks noGrp="1"/>
          </p:cNvSpPr>
          <p:nvPr>
            <p:ph type="title"/>
          </p:nvPr>
        </p:nvSpPr>
        <p:spPr>
          <a:xfrm>
            <a:off x="952160" y="2102525"/>
            <a:ext cx="4080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26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52" name="Google Shape;52;p9"/>
          <p:cNvSpPr txBox="1">
            <a:spLocks noGrp="1"/>
          </p:cNvSpPr>
          <p:nvPr>
            <p:ph type="title" idx="2"/>
          </p:nvPr>
        </p:nvSpPr>
        <p:spPr>
          <a:xfrm>
            <a:off x="952167" y="729100"/>
            <a:ext cx="102876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53" name="Google Shape;53;p9"/>
          <p:cNvSpPr txBox="1">
            <a:spLocks noGrp="1"/>
          </p:cNvSpPr>
          <p:nvPr>
            <p:ph type="subTitle" idx="1"/>
          </p:nvPr>
        </p:nvSpPr>
        <p:spPr>
          <a:xfrm>
            <a:off x="952167" y="2660275"/>
            <a:ext cx="3533600" cy="20952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54" name="Google Shape;54;p9"/>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096350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55"/>
        <p:cNvGrpSpPr/>
        <p:nvPr/>
      </p:nvGrpSpPr>
      <p:grpSpPr>
        <a:xfrm>
          <a:off x="0" y="0"/>
          <a:ext cx="0" cy="0"/>
          <a:chOff x="0" y="0"/>
          <a:chExt cx="0" cy="0"/>
        </a:xfrm>
      </p:grpSpPr>
      <p:sp>
        <p:nvSpPr>
          <p:cNvPr id="56" name="Google Shape;56;p10"/>
          <p:cNvSpPr txBox="1">
            <a:spLocks noGrp="1"/>
          </p:cNvSpPr>
          <p:nvPr>
            <p:ph type="title"/>
          </p:nvPr>
        </p:nvSpPr>
        <p:spPr>
          <a:xfrm>
            <a:off x="6397833" y="4631133"/>
            <a:ext cx="4842000" cy="1501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2"/>
              </a:buClr>
              <a:buSzPts val="3600"/>
              <a:buNone/>
              <a:defRPr sz="3600">
                <a:solidFill>
                  <a:schemeClr val="lt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Tree>
    <p:extLst>
      <p:ext uri="{BB962C8B-B14F-4D97-AF65-F5344CB8AC3E}">
        <p14:creationId xmlns:p14="http://schemas.microsoft.com/office/powerpoint/2010/main" val="23821519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ig number">
  <p:cSld name="Big number">
    <p:bg>
      <p:bgPr>
        <a:solidFill>
          <a:schemeClr val="lt2"/>
        </a:solidFill>
        <a:effectLst/>
      </p:bgPr>
    </p:bg>
    <p:spTree>
      <p:nvGrpSpPr>
        <p:cNvPr id="1" name="Shape 57"/>
        <p:cNvGrpSpPr/>
        <p:nvPr/>
      </p:nvGrpSpPr>
      <p:grpSpPr>
        <a:xfrm>
          <a:off x="0" y="0"/>
          <a:ext cx="0" cy="0"/>
          <a:chOff x="0" y="0"/>
          <a:chExt cx="0" cy="0"/>
        </a:xfrm>
      </p:grpSpPr>
      <p:pic>
        <p:nvPicPr>
          <p:cNvPr id="58" name="Google Shape;58;p11"/>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59" name="Google Shape;59;p11"/>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0" name="Google Shape;60;p11"/>
          <p:cNvSpPr txBox="1">
            <a:spLocks noGrp="1"/>
          </p:cNvSpPr>
          <p:nvPr>
            <p:ph type="body" idx="1"/>
          </p:nvPr>
        </p:nvSpPr>
        <p:spPr>
          <a:xfrm>
            <a:off x="952200" y="4380284"/>
            <a:ext cx="10287600" cy="485200"/>
          </a:xfrm>
          <a:prstGeom prst="rect">
            <a:avLst/>
          </a:prstGeom>
        </p:spPr>
        <p:txBody>
          <a:bodyPr spcFirstLastPara="1" wrap="square" lIns="91425" tIns="91425" rIns="91425" bIns="91425" anchor="t" anchorCtr="0">
            <a:noAutofit/>
          </a:bodyPr>
          <a:lstStyle>
            <a:lvl1pPr marL="609585" lvl="0" indent="-457189" algn="ctr" rtl="0">
              <a:lnSpc>
                <a:spcPct val="100000"/>
              </a:lnSpc>
              <a:spcBef>
                <a:spcPts val="0"/>
              </a:spcBef>
              <a:spcAft>
                <a:spcPts val="0"/>
              </a:spcAft>
              <a:buSzPts val="1800"/>
              <a:buChar char="●"/>
              <a:defRPr sz="2267"/>
            </a:lvl1pPr>
            <a:lvl2pPr marL="1219170" lvl="1" indent="-457189" algn="ctr" rtl="0">
              <a:spcBef>
                <a:spcPts val="0"/>
              </a:spcBef>
              <a:spcAft>
                <a:spcPts val="0"/>
              </a:spcAft>
              <a:buSzPts val="1800"/>
              <a:buChar char="○"/>
              <a:defRPr/>
            </a:lvl2pPr>
            <a:lvl3pPr marL="1828754" lvl="2" indent="-457189" algn="ctr" rtl="0">
              <a:spcBef>
                <a:spcPts val="2133"/>
              </a:spcBef>
              <a:spcAft>
                <a:spcPts val="0"/>
              </a:spcAft>
              <a:buSzPts val="1800"/>
              <a:buChar char="■"/>
              <a:defRPr/>
            </a:lvl3pPr>
            <a:lvl4pPr marL="2438339" lvl="3" indent="-457189" algn="ctr" rtl="0">
              <a:spcBef>
                <a:spcPts val="2133"/>
              </a:spcBef>
              <a:spcAft>
                <a:spcPts val="0"/>
              </a:spcAft>
              <a:buSzPts val="1800"/>
              <a:buChar char="●"/>
              <a:defRPr/>
            </a:lvl4pPr>
            <a:lvl5pPr marL="3047924" lvl="4" indent="-457189" algn="ctr" rtl="0">
              <a:spcBef>
                <a:spcPts val="2133"/>
              </a:spcBef>
              <a:spcAft>
                <a:spcPts val="0"/>
              </a:spcAft>
              <a:buSzPts val="1800"/>
              <a:buChar char="○"/>
              <a:defRPr/>
            </a:lvl5pPr>
            <a:lvl6pPr marL="3657509" lvl="5" indent="-457189" algn="ctr" rtl="0">
              <a:spcBef>
                <a:spcPts val="2133"/>
              </a:spcBef>
              <a:spcAft>
                <a:spcPts val="0"/>
              </a:spcAft>
              <a:buSzPts val="1800"/>
              <a:buChar char="■"/>
              <a:defRPr/>
            </a:lvl6pPr>
            <a:lvl7pPr marL="4267093" lvl="6" indent="-457189" algn="ctr" rtl="0">
              <a:spcBef>
                <a:spcPts val="2133"/>
              </a:spcBef>
              <a:spcAft>
                <a:spcPts val="0"/>
              </a:spcAft>
              <a:buSzPts val="1800"/>
              <a:buChar char="●"/>
              <a:defRPr/>
            </a:lvl7pPr>
            <a:lvl8pPr marL="4876678" lvl="7" indent="-457189" algn="ctr" rtl="0">
              <a:spcBef>
                <a:spcPts val="2133"/>
              </a:spcBef>
              <a:spcAft>
                <a:spcPts val="0"/>
              </a:spcAft>
              <a:buSzPts val="1800"/>
              <a:buChar char="○"/>
              <a:defRPr/>
            </a:lvl8pPr>
            <a:lvl9pPr marL="5486263" lvl="8" indent="-457189" algn="ctr" rtl="0">
              <a:spcBef>
                <a:spcPts val="2133"/>
              </a:spcBef>
              <a:spcAft>
                <a:spcPts val="2133"/>
              </a:spcAft>
              <a:buSzPts val="1800"/>
              <a:buChar char="■"/>
              <a:defRPr/>
            </a:lvl9pPr>
          </a:lstStyle>
          <a:p>
            <a:endParaRPr/>
          </a:p>
        </p:txBody>
      </p:sp>
      <p:sp>
        <p:nvSpPr>
          <p:cNvPr id="61" name="Google Shape;61;p11"/>
          <p:cNvSpPr txBox="1">
            <a:spLocks noGrp="1"/>
          </p:cNvSpPr>
          <p:nvPr>
            <p:ph type="title" hasCustomPrompt="1"/>
          </p:nvPr>
        </p:nvSpPr>
        <p:spPr>
          <a:xfrm>
            <a:off x="952200" y="2195717"/>
            <a:ext cx="10287600" cy="2194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9600"/>
              <a:buNone/>
              <a:defRPr sz="12800"/>
            </a:lvl1pPr>
            <a:lvl2pPr lvl="1" algn="ctr" rtl="0">
              <a:spcBef>
                <a:spcPts val="0"/>
              </a:spcBef>
              <a:spcAft>
                <a:spcPts val="0"/>
              </a:spcAft>
              <a:buClr>
                <a:schemeClr val="accent2"/>
              </a:buClr>
              <a:buSzPts val="12000"/>
              <a:buNone/>
              <a:defRPr sz="16000">
                <a:solidFill>
                  <a:schemeClr val="accent2"/>
                </a:solidFill>
              </a:defRPr>
            </a:lvl2pPr>
            <a:lvl3pPr lvl="2" algn="ctr" rtl="0">
              <a:spcBef>
                <a:spcPts val="0"/>
              </a:spcBef>
              <a:spcAft>
                <a:spcPts val="0"/>
              </a:spcAft>
              <a:buClr>
                <a:schemeClr val="accent2"/>
              </a:buClr>
              <a:buSzPts val="12000"/>
              <a:buNone/>
              <a:defRPr sz="16000">
                <a:solidFill>
                  <a:schemeClr val="accent2"/>
                </a:solidFill>
              </a:defRPr>
            </a:lvl3pPr>
            <a:lvl4pPr lvl="3" algn="ctr" rtl="0">
              <a:spcBef>
                <a:spcPts val="0"/>
              </a:spcBef>
              <a:spcAft>
                <a:spcPts val="0"/>
              </a:spcAft>
              <a:buClr>
                <a:schemeClr val="accent2"/>
              </a:buClr>
              <a:buSzPts val="12000"/>
              <a:buNone/>
              <a:defRPr sz="16000">
                <a:solidFill>
                  <a:schemeClr val="accent2"/>
                </a:solidFill>
              </a:defRPr>
            </a:lvl4pPr>
            <a:lvl5pPr lvl="4" algn="ctr" rtl="0">
              <a:spcBef>
                <a:spcPts val="0"/>
              </a:spcBef>
              <a:spcAft>
                <a:spcPts val="0"/>
              </a:spcAft>
              <a:buClr>
                <a:schemeClr val="accent2"/>
              </a:buClr>
              <a:buSzPts val="12000"/>
              <a:buNone/>
              <a:defRPr sz="16000">
                <a:solidFill>
                  <a:schemeClr val="accent2"/>
                </a:solidFill>
              </a:defRPr>
            </a:lvl5pPr>
            <a:lvl6pPr lvl="5" algn="ctr" rtl="0">
              <a:spcBef>
                <a:spcPts val="0"/>
              </a:spcBef>
              <a:spcAft>
                <a:spcPts val="0"/>
              </a:spcAft>
              <a:buClr>
                <a:schemeClr val="accent2"/>
              </a:buClr>
              <a:buSzPts val="12000"/>
              <a:buNone/>
              <a:defRPr sz="16000">
                <a:solidFill>
                  <a:schemeClr val="accent2"/>
                </a:solidFill>
              </a:defRPr>
            </a:lvl6pPr>
            <a:lvl7pPr lvl="6" algn="ctr" rtl="0">
              <a:spcBef>
                <a:spcPts val="0"/>
              </a:spcBef>
              <a:spcAft>
                <a:spcPts val="0"/>
              </a:spcAft>
              <a:buClr>
                <a:schemeClr val="accent2"/>
              </a:buClr>
              <a:buSzPts val="12000"/>
              <a:buNone/>
              <a:defRPr sz="16000">
                <a:solidFill>
                  <a:schemeClr val="accent2"/>
                </a:solidFill>
              </a:defRPr>
            </a:lvl7pPr>
            <a:lvl8pPr lvl="7" algn="ctr" rtl="0">
              <a:spcBef>
                <a:spcPts val="0"/>
              </a:spcBef>
              <a:spcAft>
                <a:spcPts val="0"/>
              </a:spcAft>
              <a:buClr>
                <a:schemeClr val="accent2"/>
              </a:buClr>
              <a:buSzPts val="12000"/>
              <a:buNone/>
              <a:defRPr sz="16000">
                <a:solidFill>
                  <a:schemeClr val="accent2"/>
                </a:solidFill>
              </a:defRPr>
            </a:lvl8pPr>
            <a:lvl9pPr lvl="8" algn="ctr" rtl="0">
              <a:spcBef>
                <a:spcPts val="0"/>
              </a:spcBef>
              <a:spcAft>
                <a:spcPts val="0"/>
              </a:spcAft>
              <a:buClr>
                <a:schemeClr val="accent2"/>
              </a:buClr>
              <a:buSzPts val="12000"/>
              <a:buNone/>
              <a:defRPr sz="16000">
                <a:solidFill>
                  <a:schemeClr val="accent2"/>
                </a:solidFill>
              </a:defRPr>
            </a:lvl9pPr>
          </a:lstStyle>
          <a:p>
            <a:r>
              <a:t>xx%</a:t>
            </a:r>
          </a:p>
        </p:txBody>
      </p:sp>
    </p:spTree>
    <p:extLst>
      <p:ext uri="{BB962C8B-B14F-4D97-AF65-F5344CB8AC3E}">
        <p14:creationId xmlns:p14="http://schemas.microsoft.com/office/powerpoint/2010/main" val="4580322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chemeClr val="lt1"/>
        </a:solidFill>
        <a:effectLst/>
      </p:bgPr>
    </p:bg>
    <p:spTree>
      <p:nvGrpSpPr>
        <p:cNvPr id="1" name="Shape 62"/>
        <p:cNvGrpSpPr/>
        <p:nvPr/>
      </p:nvGrpSpPr>
      <p:grpSpPr>
        <a:xfrm>
          <a:off x="0" y="0"/>
          <a:ext cx="0" cy="0"/>
          <a:chOff x="0" y="0"/>
          <a:chExt cx="0" cy="0"/>
        </a:xfrm>
      </p:grpSpPr>
    </p:spTree>
    <p:extLst>
      <p:ext uri="{BB962C8B-B14F-4D97-AF65-F5344CB8AC3E}">
        <p14:creationId xmlns:p14="http://schemas.microsoft.com/office/powerpoint/2010/main" val="35133300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text">
  <p:cSld name="Title and text">
    <p:bg>
      <p:bgPr>
        <a:solidFill>
          <a:schemeClr val="lt2"/>
        </a:solidFill>
        <a:effectLst/>
      </p:bgPr>
    </p:bg>
    <p:spTree>
      <p:nvGrpSpPr>
        <p:cNvPr id="1" name="Shape 63"/>
        <p:cNvGrpSpPr/>
        <p:nvPr/>
      </p:nvGrpSpPr>
      <p:grpSpPr>
        <a:xfrm>
          <a:off x="0" y="0"/>
          <a:ext cx="0" cy="0"/>
          <a:chOff x="0" y="0"/>
          <a:chExt cx="0" cy="0"/>
        </a:xfrm>
      </p:grpSpPr>
      <p:pic>
        <p:nvPicPr>
          <p:cNvPr id="64" name="Google Shape;64;p13"/>
          <p:cNvPicPr preferRelativeResize="0"/>
          <p:nvPr/>
        </p:nvPicPr>
        <p:blipFill>
          <a:blip r:embed="rId2">
            <a:alphaModFix amt="55000"/>
          </a:blip>
          <a:stretch>
            <a:fillRect/>
          </a:stretch>
        </p:blipFill>
        <p:spPr>
          <a:xfrm flipH="1">
            <a:off x="7417881" y="1011234"/>
            <a:ext cx="4302967" cy="4440533"/>
          </a:xfrm>
          <a:prstGeom prst="rect">
            <a:avLst/>
          </a:prstGeom>
          <a:noFill/>
          <a:ln>
            <a:noFill/>
          </a:ln>
        </p:spPr>
      </p:pic>
      <p:sp>
        <p:nvSpPr>
          <p:cNvPr id="65" name="Google Shape;65;p13"/>
          <p:cNvSpPr txBox="1">
            <a:spLocks noGrp="1"/>
          </p:cNvSpPr>
          <p:nvPr>
            <p:ph type="title"/>
          </p:nvPr>
        </p:nvSpPr>
        <p:spPr>
          <a:xfrm>
            <a:off x="952160" y="2813725"/>
            <a:ext cx="4080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26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66" name="Google Shape;66;p13"/>
          <p:cNvSpPr txBox="1">
            <a:spLocks noGrp="1"/>
          </p:cNvSpPr>
          <p:nvPr>
            <p:ph type="title" idx="2"/>
          </p:nvPr>
        </p:nvSpPr>
        <p:spPr>
          <a:xfrm>
            <a:off x="952167" y="761200"/>
            <a:ext cx="7179200" cy="1015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67" name="Google Shape;67;p13"/>
          <p:cNvSpPr txBox="1">
            <a:spLocks noGrp="1"/>
          </p:cNvSpPr>
          <p:nvPr>
            <p:ph type="subTitle" idx="1"/>
          </p:nvPr>
        </p:nvSpPr>
        <p:spPr>
          <a:xfrm>
            <a:off x="952167" y="2904199"/>
            <a:ext cx="3533600" cy="12020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None/>
              <a:defRPr sz="1867"/>
            </a:lvl1pPr>
            <a:lvl2pPr lvl="1" rtl="0">
              <a:lnSpc>
                <a:spcPct val="100000"/>
              </a:lnSpc>
              <a:spcBef>
                <a:spcPts val="2133"/>
              </a:spcBef>
              <a:spcAft>
                <a:spcPts val="0"/>
              </a:spcAft>
              <a:buNone/>
              <a:defRPr sz="1867"/>
            </a:lvl2pPr>
            <a:lvl3pPr lvl="2" rtl="0">
              <a:lnSpc>
                <a:spcPct val="100000"/>
              </a:lnSpc>
              <a:spcBef>
                <a:spcPts val="2133"/>
              </a:spcBef>
              <a:spcAft>
                <a:spcPts val="0"/>
              </a:spcAft>
              <a:buNone/>
              <a:defRPr sz="1867"/>
            </a:lvl3pPr>
            <a:lvl4pPr lvl="3" rtl="0">
              <a:lnSpc>
                <a:spcPct val="100000"/>
              </a:lnSpc>
              <a:spcBef>
                <a:spcPts val="2133"/>
              </a:spcBef>
              <a:spcAft>
                <a:spcPts val="0"/>
              </a:spcAft>
              <a:buNone/>
              <a:defRPr sz="1867"/>
            </a:lvl4pPr>
            <a:lvl5pPr lvl="4" rtl="0">
              <a:lnSpc>
                <a:spcPct val="100000"/>
              </a:lnSpc>
              <a:spcBef>
                <a:spcPts val="2133"/>
              </a:spcBef>
              <a:spcAft>
                <a:spcPts val="0"/>
              </a:spcAft>
              <a:buNone/>
              <a:defRPr sz="1867"/>
            </a:lvl5pPr>
            <a:lvl6pPr lvl="5" rtl="0">
              <a:lnSpc>
                <a:spcPct val="100000"/>
              </a:lnSpc>
              <a:spcBef>
                <a:spcPts val="2133"/>
              </a:spcBef>
              <a:spcAft>
                <a:spcPts val="0"/>
              </a:spcAft>
              <a:buNone/>
              <a:defRPr sz="1867"/>
            </a:lvl6pPr>
            <a:lvl7pPr lvl="6" rtl="0">
              <a:lnSpc>
                <a:spcPct val="100000"/>
              </a:lnSpc>
              <a:spcBef>
                <a:spcPts val="2133"/>
              </a:spcBef>
              <a:spcAft>
                <a:spcPts val="0"/>
              </a:spcAft>
              <a:buNone/>
              <a:defRPr sz="1867"/>
            </a:lvl7pPr>
            <a:lvl8pPr lvl="7" rtl="0">
              <a:lnSpc>
                <a:spcPct val="100000"/>
              </a:lnSpc>
              <a:spcBef>
                <a:spcPts val="2133"/>
              </a:spcBef>
              <a:spcAft>
                <a:spcPts val="0"/>
              </a:spcAft>
              <a:buNone/>
              <a:defRPr sz="1867"/>
            </a:lvl8pPr>
            <a:lvl9pPr lvl="8" rtl="0">
              <a:lnSpc>
                <a:spcPct val="100000"/>
              </a:lnSpc>
              <a:spcBef>
                <a:spcPts val="2133"/>
              </a:spcBef>
              <a:spcAft>
                <a:spcPts val="2133"/>
              </a:spcAft>
              <a:buNone/>
              <a:defRPr sz="1867"/>
            </a:lvl9pPr>
          </a:lstStyle>
          <a:p>
            <a:endParaRPr/>
          </a:p>
        </p:txBody>
      </p:sp>
      <p:sp>
        <p:nvSpPr>
          <p:cNvPr id="68" name="Google Shape;68;p13"/>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640854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1295401" y="3589879"/>
            <a:ext cx="9590550" cy="150705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2DB0C44-5B28-495E-A020-6785C9410D38}" type="datetimeFigureOut">
              <a:rPr lang="en-US" smtClean="0"/>
              <a:t>8/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9650907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4 columns">
  <p:cSld name="Title and 4 columns">
    <p:bg>
      <p:bgPr>
        <a:solidFill>
          <a:schemeClr val="lt2"/>
        </a:solidFill>
        <a:effectLst/>
      </p:bgPr>
    </p:bg>
    <p:spTree>
      <p:nvGrpSpPr>
        <p:cNvPr id="1" name="Shape 69"/>
        <p:cNvGrpSpPr/>
        <p:nvPr/>
      </p:nvGrpSpPr>
      <p:grpSpPr>
        <a:xfrm>
          <a:off x="0" y="0"/>
          <a:ext cx="0" cy="0"/>
          <a:chOff x="0" y="0"/>
          <a:chExt cx="0" cy="0"/>
        </a:xfrm>
      </p:grpSpPr>
      <p:pic>
        <p:nvPicPr>
          <p:cNvPr id="70" name="Google Shape;70;p14"/>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71" name="Google Shape;71;p14"/>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72" name="Google Shape;72;p14"/>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73" name="Google Shape;73;p14"/>
          <p:cNvSpPr txBox="1">
            <a:spLocks noGrp="1"/>
          </p:cNvSpPr>
          <p:nvPr>
            <p:ph type="title"/>
          </p:nvPr>
        </p:nvSpPr>
        <p:spPr>
          <a:xfrm>
            <a:off x="952167" y="725641"/>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74" name="Google Shape;74;p14"/>
          <p:cNvSpPr txBox="1">
            <a:spLocks noGrp="1"/>
          </p:cNvSpPr>
          <p:nvPr>
            <p:ph type="subTitle" idx="1"/>
          </p:nvPr>
        </p:nvSpPr>
        <p:spPr>
          <a:xfrm>
            <a:off x="4914568" y="2428625"/>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75" name="Google Shape;75;p14"/>
          <p:cNvSpPr txBox="1">
            <a:spLocks noGrp="1"/>
          </p:cNvSpPr>
          <p:nvPr>
            <p:ph type="title" idx="2"/>
          </p:nvPr>
        </p:nvSpPr>
        <p:spPr>
          <a:xfrm>
            <a:off x="4986168" y="1772908"/>
            <a:ext cx="25488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lt1"/>
              </a:buClr>
              <a:buSzPts val="1800"/>
              <a:buNone/>
              <a:defRPr sz="2667">
                <a:solidFill>
                  <a:schemeClr val="dk2"/>
                </a:solidFill>
              </a:defRPr>
            </a:lvl1pPr>
            <a:lvl2pPr lvl="1" algn="r" rtl="0">
              <a:spcBef>
                <a:spcPts val="0"/>
              </a:spcBef>
              <a:spcAft>
                <a:spcPts val="0"/>
              </a:spcAft>
              <a:buClr>
                <a:schemeClr val="lt1"/>
              </a:buClr>
              <a:buSzPts val="3600"/>
              <a:buNone/>
              <a:defRPr sz="4800">
                <a:solidFill>
                  <a:schemeClr val="lt1"/>
                </a:solidFill>
              </a:defRPr>
            </a:lvl2pPr>
            <a:lvl3pPr lvl="2" algn="r" rtl="0">
              <a:spcBef>
                <a:spcPts val="0"/>
              </a:spcBef>
              <a:spcAft>
                <a:spcPts val="0"/>
              </a:spcAft>
              <a:buClr>
                <a:schemeClr val="lt1"/>
              </a:buClr>
              <a:buSzPts val="3600"/>
              <a:buNone/>
              <a:defRPr sz="4800">
                <a:solidFill>
                  <a:schemeClr val="lt1"/>
                </a:solidFill>
              </a:defRPr>
            </a:lvl3pPr>
            <a:lvl4pPr lvl="3" algn="r" rtl="0">
              <a:spcBef>
                <a:spcPts val="0"/>
              </a:spcBef>
              <a:spcAft>
                <a:spcPts val="0"/>
              </a:spcAft>
              <a:buClr>
                <a:schemeClr val="lt1"/>
              </a:buClr>
              <a:buSzPts val="3600"/>
              <a:buNone/>
              <a:defRPr sz="4800">
                <a:solidFill>
                  <a:schemeClr val="lt1"/>
                </a:solidFill>
              </a:defRPr>
            </a:lvl4pPr>
            <a:lvl5pPr lvl="4" algn="r" rtl="0">
              <a:spcBef>
                <a:spcPts val="0"/>
              </a:spcBef>
              <a:spcAft>
                <a:spcPts val="0"/>
              </a:spcAft>
              <a:buClr>
                <a:schemeClr val="lt1"/>
              </a:buClr>
              <a:buSzPts val="3600"/>
              <a:buNone/>
              <a:defRPr sz="4800">
                <a:solidFill>
                  <a:schemeClr val="lt1"/>
                </a:solidFill>
              </a:defRPr>
            </a:lvl5pPr>
            <a:lvl6pPr lvl="5" algn="r" rtl="0">
              <a:spcBef>
                <a:spcPts val="0"/>
              </a:spcBef>
              <a:spcAft>
                <a:spcPts val="0"/>
              </a:spcAft>
              <a:buClr>
                <a:schemeClr val="lt1"/>
              </a:buClr>
              <a:buSzPts val="3600"/>
              <a:buNone/>
              <a:defRPr sz="4800">
                <a:solidFill>
                  <a:schemeClr val="lt1"/>
                </a:solidFill>
              </a:defRPr>
            </a:lvl6pPr>
            <a:lvl7pPr lvl="6" algn="r" rtl="0">
              <a:spcBef>
                <a:spcPts val="0"/>
              </a:spcBef>
              <a:spcAft>
                <a:spcPts val="0"/>
              </a:spcAft>
              <a:buClr>
                <a:schemeClr val="lt1"/>
              </a:buClr>
              <a:buSzPts val="3600"/>
              <a:buNone/>
              <a:defRPr sz="4800">
                <a:solidFill>
                  <a:schemeClr val="lt1"/>
                </a:solidFill>
              </a:defRPr>
            </a:lvl7pPr>
            <a:lvl8pPr lvl="7" algn="r" rtl="0">
              <a:spcBef>
                <a:spcPts val="0"/>
              </a:spcBef>
              <a:spcAft>
                <a:spcPts val="0"/>
              </a:spcAft>
              <a:buClr>
                <a:schemeClr val="lt1"/>
              </a:buClr>
              <a:buSzPts val="3600"/>
              <a:buNone/>
              <a:defRPr sz="4800">
                <a:solidFill>
                  <a:schemeClr val="lt1"/>
                </a:solidFill>
              </a:defRPr>
            </a:lvl8pPr>
            <a:lvl9pPr lvl="8" algn="r" rtl="0">
              <a:spcBef>
                <a:spcPts val="0"/>
              </a:spcBef>
              <a:spcAft>
                <a:spcPts val="0"/>
              </a:spcAft>
              <a:buClr>
                <a:schemeClr val="lt1"/>
              </a:buClr>
              <a:buSzPts val="3600"/>
              <a:buNone/>
              <a:defRPr sz="4800">
                <a:solidFill>
                  <a:schemeClr val="lt1"/>
                </a:solidFill>
              </a:defRPr>
            </a:lvl9pPr>
          </a:lstStyle>
          <a:p>
            <a:endParaRPr/>
          </a:p>
        </p:txBody>
      </p:sp>
      <p:sp>
        <p:nvSpPr>
          <p:cNvPr id="76" name="Google Shape;76;p14"/>
          <p:cNvSpPr txBox="1">
            <a:spLocks noGrp="1"/>
          </p:cNvSpPr>
          <p:nvPr>
            <p:ph type="subTitle" idx="3"/>
          </p:nvPr>
        </p:nvSpPr>
        <p:spPr>
          <a:xfrm>
            <a:off x="4914568" y="5003892"/>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77" name="Google Shape;77;p14"/>
          <p:cNvSpPr txBox="1">
            <a:spLocks noGrp="1"/>
          </p:cNvSpPr>
          <p:nvPr>
            <p:ph type="title" idx="4"/>
          </p:nvPr>
        </p:nvSpPr>
        <p:spPr>
          <a:xfrm>
            <a:off x="4986168" y="4342741"/>
            <a:ext cx="25488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lt1"/>
              </a:buClr>
              <a:buSzPts val="1800"/>
              <a:buNone/>
              <a:defRPr sz="2667">
                <a:solidFill>
                  <a:schemeClr val="dk2"/>
                </a:solidFill>
              </a:defRPr>
            </a:lvl1pPr>
            <a:lvl2pPr lvl="1" algn="r" rtl="0">
              <a:spcBef>
                <a:spcPts val="0"/>
              </a:spcBef>
              <a:spcAft>
                <a:spcPts val="0"/>
              </a:spcAft>
              <a:buClr>
                <a:schemeClr val="lt1"/>
              </a:buClr>
              <a:buSzPts val="3600"/>
              <a:buNone/>
              <a:defRPr sz="4800">
                <a:solidFill>
                  <a:schemeClr val="lt1"/>
                </a:solidFill>
              </a:defRPr>
            </a:lvl2pPr>
            <a:lvl3pPr lvl="2" algn="r" rtl="0">
              <a:spcBef>
                <a:spcPts val="0"/>
              </a:spcBef>
              <a:spcAft>
                <a:spcPts val="0"/>
              </a:spcAft>
              <a:buClr>
                <a:schemeClr val="lt1"/>
              </a:buClr>
              <a:buSzPts val="3600"/>
              <a:buNone/>
              <a:defRPr sz="4800">
                <a:solidFill>
                  <a:schemeClr val="lt1"/>
                </a:solidFill>
              </a:defRPr>
            </a:lvl3pPr>
            <a:lvl4pPr lvl="3" algn="r" rtl="0">
              <a:spcBef>
                <a:spcPts val="0"/>
              </a:spcBef>
              <a:spcAft>
                <a:spcPts val="0"/>
              </a:spcAft>
              <a:buClr>
                <a:schemeClr val="lt1"/>
              </a:buClr>
              <a:buSzPts val="3600"/>
              <a:buNone/>
              <a:defRPr sz="4800">
                <a:solidFill>
                  <a:schemeClr val="lt1"/>
                </a:solidFill>
              </a:defRPr>
            </a:lvl4pPr>
            <a:lvl5pPr lvl="4" algn="r" rtl="0">
              <a:spcBef>
                <a:spcPts val="0"/>
              </a:spcBef>
              <a:spcAft>
                <a:spcPts val="0"/>
              </a:spcAft>
              <a:buClr>
                <a:schemeClr val="lt1"/>
              </a:buClr>
              <a:buSzPts val="3600"/>
              <a:buNone/>
              <a:defRPr sz="4800">
                <a:solidFill>
                  <a:schemeClr val="lt1"/>
                </a:solidFill>
              </a:defRPr>
            </a:lvl5pPr>
            <a:lvl6pPr lvl="5" algn="r" rtl="0">
              <a:spcBef>
                <a:spcPts val="0"/>
              </a:spcBef>
              <a:spcAft>
                <a:spcPts val="0"/>
              </a:spcAft>
              <a:buClr>
                <a:schemeClr val="lt1"/>
              </a:buClr>
              <a:buSzPts val="3600"/>
              <a:buNone/>
              <a:defRPr sz="4800">
                <a:solidFill>
                  <a:schemeClr val="lt1"/>
                </a:solidFill>
              </a:defRPr>
            </a:lvl6pPr>
            <a:lvl7pPr lvl="6" algn="r" rtl="0">
              <a:spcBef>
                <a:spcPts val="0"/>
              </a:spcBef>
              <a:spcAft>
                <a:spcPts val="0"/>
              </a:spcAft>
              <a:buClr>
                <a:schemeClr val="lt1"/>
              </a:buClr>
              <a:buSzPts val="3600"/>
              <a:buNone/>
              <a:defRPr sz="4800">
                <a:solidFill>
                  <a:schemeClr val="lt1"/>
                </a:solidFill>
              </a:defRPr>
            </a:lvl7pPr>
            <a:lvl8pPr lvl="7" algn="r" rtl="0">
              <a:spcBef>
                <a:spcPts val="0"/>
              </a:spcBef>
              <a:spcAft>
                <a:spcPts val="0"/>
              </a:spcAft>
              <a:buClr>
                <a:schemeClr val="lt1"/>
              </a:buClr>
              <a:buSzPts val="3600"/>
              <a:buNone/>
              <a:defRPr sz="4800">
                <a:solidFill>
                  <a:schemeClr val="lt1"/>
                </a:solidFill>
              </a:defRPr>
            </a:lvl8pPr>
            <a:lvl9pPr lvl="8" algn="r" rtl="0">
              <a:spcBef>
                <a:spcPts val="0"/>
              </a:spcBef>
              <a:spcAft>
                <a:spcPts val="0"/>
              </a:spcAft>
              <a:buClr>
                <a:schemeClr val="lt1"/>
              </a:buClr>
              <a:buSzPts val="3600"/>
              <a:buNone/>
              <a:defRPr sz="4800">
                <a:solidFill>
                  <a:schemeClr val="lt1"/>
                </a:solidFill>
              </a:defRPr>
            </a:lvl9pPr>
          </a:lstStyle>
          <a:p>
            <a:endParaRPr/>
          </a:p>
        </p:txBody>
      </p:sp>
      <p:sp>
        <p:nvSpPr>
          <p:cNvPr id="78" name="Google Shape;78;p14"/>
          <p:cNvSpPr txBox="1">
            <a:spLocks noGrp="1"/>
          </p:cNvSpPr>
          <p:nvPr>
            <p:ph type="subTitle" idx="5"/>
          </p:nvPr>
        </p:nvSpPr>
        <p:spPr>
          <a:xfrm>
            <a:off x="8177265" y="2428625"/>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79" name="Google Shape;79;p14"/>
          <p:cNvSpPr txBox="1">
            <a:spLocks noGrp="1"/>
          </p:cNvSpPr>
          <p:nvPr>
            <p:ph type="title" idx="6"/>
          </p:nvPr>
        </p:nvSpPr>
        <p:spPr>
          <a:xfrm>
            <a:off x="8248865" y="1772908"/>
            <a:ext cx="25488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lt1"/>
              </a:buClr>
              <a:buSzPts val="1800"/>
              <a:buNone/>
              <a:defRPr sz="26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80" name="Google Shape;80;p14"/>
          <p:cNvSpPr txBox="1">
            <a:spLocks noGrp="1"/>
          </p:cNvSpPr>
          <p:nvPr>
            <p:ph type="subTitle" idx="7"/>
          </p:nvPr>
        </p:nvSpPr>
        <p:spPr>
          <a:xfrm>
            <a:off x="8177265" y="5003892"/>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81" name="Google Shape;81;p14"/>
          <p:cNvSpPr txBox="1">
            <a:spLocks noGrp="1"/>
          </p:cNvSpPr>
          <p:nvPr>
            <p:ph type="title" idx="8"/>
          </p:nvPr>
        </p:nvSpPr>
        <p:spPr>
          <a:xfrm>
            <a:off x="8248865" y="4342741"/>
            <a:ext cx="25488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lt1"/>
              </a:buClr>
              <a:buSzPts val="1800"/>
              <a:buNone/>
              <a:defRPr sz="2667">
                <a:solidFill>
                  <a:schemeClr val="dk2"/>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Tree>
    <p:extLst>
      <p:ext uri="{BB962C8B-B14F-4D97-AF65-F5344CB8AC3E}">
        <p14:creationId xmlns:p14="http://schemas.microsoft.com/office/powerpoint/2010/main" val="32491305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able of Contents">
  <p:cSld name="Table of Contents">
    <p:bg>
      <p:bgPr>
        <a:solidFill>
          <a:schemeClr val="lt2"/>
        </a:solidFill>
        <a:effectLst/>
      </p:bgPr>
    </p:bg>
    <p:spTree>
      <p:nvGrpSpPr>
        <p:cNvPr id="1" name="Shape 82"/>
        <p:cNvGrpSpPr/>
        <p:nvPr/>
      </p:nvGrpSpPr>
      <p:grpSpPr>
        <a:xfrm>
          <a:off x="0" y="0"/>
          <a:ext cx="0" cy="0"/>
          <a:chOff x="0" y="0"/>
          <a:chExt cx="0" cy="0"/>
        </a:xfrm>
      </p:grpSpPr>
      <p:pic>
        <p:nvPicPr>
          <p:cNvPr id="83" name="Google Shape;83;p15"/>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84" name="Google Shape;84;p15"/>
          <p:cNvSpPr txBox="1">
            <a:spLocks noGrp="1"/>
          </p:cNvSpPr>
          <p:nvPr>
            <p:ph type="subTitle" idx="1"/>
          </p:nvPr>
        </p:nvSpPr>
        <p:spPr>
          <a:xfrm>
            <a:off x="2213484" y="2777517"/>
            <a:ext cx="31200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85" name="Google Shape;85;p15"/>
          <p:cNvSpPr txBox="1">
            <a:spLocks noGrp="1"/>
          </p:cNvSpPr>
          <p:nvPr>
            <p:ph type="title"/>
          </p:nvPr>
        </p:nvSpPr>
        <p:spPr>
          <a:xfrm>
            <a:off x="2213503" y="2121833"/>
            <a:ext cx="2892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1800"/>
              <a:buNone/>
              <a:defRPr sz="2667"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86" name="Google Shape;86;p15"/>
          <p:cNvSpPr txBox="1">
            <a:spLocks noGrp="1"/>
          </p:cNvSpPr>
          <p:nvPr>
            <p:ph type="title" idx="2" hasCustomPrompt="1"/>
          </p:nvPr>
        </p:nvSpPr>
        <p:spPr>
          <a:xfrm>
            <a:off x="1093984" y="2033617"/>
            <a:ext cx="1216800" cy="6640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5"/>
              </a:buClr>
              <a:buSzPts val="3600"/>
              <a:buNone/>
              <a:defRPr sz="4533"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87" name="Google Shape;87;p15"/>
          <p:cNvSpPr txBox="1">
            <a:spLocks noGrp="1"/>
          </p:cNvSpPr>
          <p:nvPr>
            <p:ph type="subTitle" idx="3"/>
          </p:nvPr>
        </p:nvSpPr>
        <p:spPr>
          <a:xfrm>
            <a:off x="2213484" y="5047984"/>
            <a:ext cx="31200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88" name="Google Shape;88;p15"/>
          <p:cNvSpPr txBox="1">
            <a:spLocks noGrp="1"/>
          </p:cNvSpPr>
          <p:nvPr>
            <p:ph type="title" idx="4"/>
          </p:nvPr>
        </p:nvSpPr>
        <p:spPr>
          <a:xfrm>
            <a:off x="2213503" y="4386867"/>
            <a:ext cx="2892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1800"/>
              <a:buNone/>
              <a:defRPr sz="2667"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89" name="Google Shape;89;p15"/>
          <p:cNvSpPr txBox="1">
            <a:spLocks noGrp="1"/>
          </p:cNvSpPr>
          <p:nvPr>
            <p:ph type="title" idx="5" hasCustomPrompt="1"/>
          </p:nvPr>
        </p:nvSpPr>
        <p:spPr>
          <a:xfrm>
            <a:off x="1091584" y="4298651"/>
            <a:ext cx="1219200" cy="6640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5"/>
              </a:buClr>
              <a:buSzPts val="3600"/>
              <a:buNone/>
              <a:defRPr sz="4533"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90" name="Google Shape;90;p15"/>
          <p:cNvSpPr txBox="1">
            <a:spLocks noGrp="1"/>
          </p:cNvSpPr>
          <p:nvPr>
            <p:ph type="subTitle" idx="6"/>
          </p:nvPr>
        </p:nvSpPr>
        <p:spPr>
          <a:xfrm>
            <a:off x="7980417" y="2777517"/>
            <a:ext cx="31200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91" name="Google Shape;91;p15"/>
          <p:cNvSpPr txBox="1">
            <a:spLocks noGrp="1"/>
          </p:cNvSpPr>
          <p:nvPr>
            <p:ph type="title" idx="7"/>
          </p:nvPr>
        </p:nvSpPr>
        <p:spPr>
          <a:xfrm>
            <a:off x="7980436" y="2121833"/>
            <a:ext cx="2892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1800"/>
              <a:buNone/>
              <a:defRPr sz="2667"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92" name="Google Shape;92;p15"/>
          <p:cNvSpPr txBox="1">
            <a:spLocks noGrp="1"/>
          </p:cNvSpPr>
          <p:nvPr>
            <p:ph type="title" idx="8" hasCustomPrompt="1"/>
          </p:nvPr>
        </p:nvSpPr>
        <p:spPr>
          <a:xfrm>
            <a:off x="6841217" y="2033617"/>
            <a:ext cx="1219200" cy="6640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5"/>
              </a:buClr>
              <a:buSzPts val="3600"/>
              <a:buNone/>
              <a:defRPr sz="4533"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93" name="Google Shape;93;p15"/>
          <p:cNvSpPr txBox="1">
            <a:spLocks noGrp="1"/>
          </p:cNvSpPr>
          <p:nvPr>
            <p:ph type="subTitle" idx="9"/>
          </p:nvPr>
        </p:nvSpPr>
        <p:spPr>
          <a:xfrm>
            <a:off x="7980417" y="5047984"/>
            <a:ext cx="31200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94" name="Google Shape;94;p15"/>
          <p:cNvSpPr txBox="1">
            <a:spLocks noGrp="1"/>
          </p:cNvSpPr>
          <p:nvPr>
            <p:ph type="title" idx="13"/>
          </p:nvPr>
        </p:nvSpPr>
        <p:spPr>
          <a:xfrm>
            <a:off x="7980436" y="4386867"/>
            <a:ext cx="28920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1800"/>
              <a:buNone/>
              <a:defRPr sz="2667"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95" name="Google Shape;95;p15"/>
          <p:cNvSpPr txBox="1">
            <a:spLocks noGrp="1"/>
          </p:cNvSpPr>
          <p:nvPr>
            <p:ph type="title" idx="14" hasCustomPrompt="1"/>
          </p:nvPr>
        </p:nvSpPr>
        <p:spPr>
          <a:xfrm>
            <a:off x="6841217" y="4298651"/>
            <a:ext cx="1219200" cy="6640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5"/>
              </a:buClr>
              <a:buSzPts val="3600"/>
              <a:buNone/>
              <a:defRPr sz="4533" b="1">
                <a:solidFill>
                  <a:schemeClr val="dk2"/>
                </a:solidFill>
                <a:latin typeface="Libre Baskerville"/>
                <a:ea typeface="Libre Baskerville"/>
                <a:cs typeface="Libre Baskerville"/>
                <a:sym typeface="Libre Baskerville"/>
              </a:defRPr>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96" name="Google Shape;96;p15"/>
          <p:cNvSpPr txBox="1">
            <a:spLocks noGrp="1"/>
          </p:cNvSpPr>
          <p:nvPr>
            <p:ph type="title" idx="15"/>
          </p:nvPr>
        </p:nvSpPr>
        <p:spPr>
          <a:xfrm>
            <a:off x="952167" y="729100"/>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2400"/>
              <a:buNone/>
              <a:defRPr sz="4000" b="1">
                <a:latin typeface="Libre Baskerville"/>
                <a:ea typeface="Libre Baskerville"/>
                <a:cs typeface="Libre Baskerville"/>
                <a:sym typeface="Libre Baskerville"/>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97" name="Google Shape;97;p15"/>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42274515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3 columns">
  <p:cSld name="Title and 3 columns">
    <p:bg>
      <p:bgPr>
        <a:solidFill>
          <a:schemeClr val="lt2"/>
        </a:solidFill>
        <a:effectLst/>
      </p:bgPr>
    </p:bg>
    <p:spTree>
      <p:nvGrpSpPr>
        <p:cNvPr id="1" name="Shape 98"/>
        <p:cNvGrpSpPr/>
        <p:nvPr/>
      </p:nvGrpSpPr>
      <p:grpSpPr>
        <a:xfrm>
          <a:off x="0" y="0"/>
          <a:ext cx="0" cy="0"/>
          <a:chOff x="0" y="0"/>
          <a:chExt cx="0" cy="0"/>
        </a:xfrm>
      </p:grpSpPr>
      <p:pic>
        <p:nvPicPr>
          <p:cNvPr id="99" name="Google Shape;99;p16"/>
          <p:cNvPicPr preferRelativeResize="0"/>
          <p:nvPr/>
        </p:nvPicPr>
        <p:blipFill>
          <a:blip r:embed="rId2">
            <a:alphaModFix amt="75000"/>
          </a:blip>
          <a:stretch>
            <a:fillRect/>
          </a:stretch>
        </p:blipFill>
        <p:spPr>
          <a:xfrm>
            <a:off x="0" y="0"/>
            <a:ext cx="2747267" cy="2645701"/>
          </a:xfrm>
          <a:prstGeom prst="rect">
            <a:avLst/>
          </a:prstGeom>
          <a:noFill/>
          <a:ln>
            <a:noFill/>
          </a:ln>
        </p:spPr>
      </p:pic>
      <p:pic>
        <p:nvPicPr>
          <p:cNvPr id="100" name="Google Shape;100;p16"/>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sp>
        <p:nvSpPr>
          <p:cNvPr id="101" name="Google Shape;101;p16"/>
          <p:cNvSpPr txBox="1">
            <a:spLocks noGrp="1"/>
          </p:cNvSpPr>
          <p:nvPr>
            <p:ph type="subTitle" idx="1"/>
          </p:nvPr>
        </p:nvSpPr>
        <p:spPr>
          <a:xfrm>
            <a:off x="832767" y="3877465"/>
            <a:ext cx="3170000" cy="952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02" name="Google Shape;102;p16"/>
          <p:cNvSpPr txBox="1">
            <a:spLocks noGrp="1"/>
          </p:cNvSpPr>
          <p:nvPr>
            <p:ph type="subTitle" idx="2"/>
          </p:nvPr>
        </p:nvSpPr>
        <p:spPr>
          <a:xfrm>
            <a:off x="8189267" y="3877465"/>
            <a:ext cx="3170000" cy="952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03" name="Google Shape;103;p16"/>
          <p:cNvSpPr txBox="1">
            <a:spLocks noGrp="1"/>
          </p:cNvSpPr>
          <p:nvPr>
            <p:ph type="subTitle" idx="3"/>
          </p:nvPr>
        </p:nvSpPr>
        <p:spPr>
          <a:xfrm>
            <a:off x="4511000" y="3877465"/>
            <a:ext cx="3170000" cy="9528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04" name="Google Shape;104;p16"/>
          <p:cNvSpPr txBox="1">
            <a:spLocks noGrp="1"/>
          </p:cNvSpPr>
          <p:nvPr>
            <p:ph type="title"/>
          </p:nvPr>
        </p:nvSpPr>
        <p:spPr>
          <a:xfrm>
            <a:off x="1217767" y="3296569"/>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05" name="Google Shape;105;p16"/>
          <p:cNvSpPr txBox="1">
            <a:spLocks noGrp="1"/>
          </p:cNvSpPr>
          <p:nvPr>
            <p:ph type="title" idx="4"/>
          </p:nvPr>
        </p:nvSpPr>
        <p:spPr>
          <a:xfrm>
            <a:off x="8574267" y="3296569"/>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06" name="Google Shape;106;p16"/>
          <p:cNvSpPr txBox="1">
            <a:spLocks noGrp="1"/>
          </p:cNvSpPr>
          <p:nvPr>
            <p:ph type="title" idx="5"/>
          </p:nvPr>
        </p:nvSpPr>
        <p:spPr>
          <a:xfrm>
            <a:off x="4896000" y="3296569"/>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07" name="Google Shape;107;p16"/>
          <p:cNvSpPr txBox="1">
            <a:spLocks noGrp="1"/>
          </p:cNvSpPr>
          <p:nvPr>
            <p:ph type="title" idx="6"/>
          </p:nvPr>
        </p:nvSpPr>
        <p:spPr>
          <a:xfrm>
            <a:off x="952167" y="725433"/>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08" name="Google Shape;108;p16"/>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7149374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4 columns 1">
  <p:cSld name="Title and 4 columns 1">
    <p:bg>
      <p:bgPr>
        <a:solidFill>
          <a:schemeClr val="lt2"/>
        </a:solidFill>
        <a:effectLst/>
      </p:bgPr>
    </p:bg>
    <p:spTree>
      <p:nvGrpSpPr>
        <p:cNvPr id="1" name="Shape 109"/>
        <p:cNvGrpSpPr/>
        <p:nvPr/>
      </p:nvGrpSpPr>
      <p:grpSpPr>
        <a:xfrm>
          <a:off x="0" y="0"/>
          <a:ext cx="0" cy="0"/>
          <a:chOff x="0" y="0"/>
          <a:chExt cx="0" cy="0"/>
        </a:xfrm>
      </p:grpSpPr>
      <p:pic>
        <p:nvPicPr>
          <p:cNvPr id="110" name="Google Shape;110;p17"/>
          <p:cNvPicPr preferRelativeResize="0"/>
          <p:nvPr/>
        </p:nvPicPr>
        <p:blipFill>
          <a:blip r:embed="rId2">
            <a:alphaModFix amt="75000"/>
          </a:blip>
          <a:stretch>
            <a:fillRect/>
          </a:stretch>
        </p:blipFill>
        <p:spPr>
          <a:xfrm flipH="1">
            <a:off x="9444733" y="0"/>
            <a:ext cx="2747267" cy="2645701"/>
          </a:xfrm>
          <a:prstGeom prst="rect">
            <a:avLst/>
          </a:prstGeom>
          <a:noFill/>
          <a:ln>
            <a:noFill/>
          </a:ln>
        </p:spPr>
      </p:pic>
      <p:pic>
        <p:nvPicPr>
          <p:cNvPr id="111" name="Google Shape;111;p17"/>
          <p:cNvPicPr preferRelativeResize="0"/>
          <p:nvPr/>
        </p:nvPicPr>
        <p:blipFill>
          <a:blip r:embed="rId2">
            <a:alphaModFix amt="75000"/>
          </a:blip>
          <a:stretch>
            <a:fillRect/>
          </a:stretch>
        </p:blipFill>
        <p:spPr>
          <a:xfrm rot="10800000" flipH="1">
            <a:off x="0" y="4212300"/>
            <a:ext cx="2747267" cy="2645701"/>
          </a:xfrm>
          <a:prstGeom prst="rect">
            <a:avLst/>
          </a:prstGeom>
          <a:noFill/>
          <a:ln>
            <a:noFill/>
          </a:ln>
        </p:spPr>
      </p:pic>
      <p:sp>
        <p:nvSpPr>
          <p:cNvPr id="112" name="Google Shape;112;p17"/>
          <p:cNvSpPr txBox="1">
            <a:spLocks noGrp="1"/>
          </p:cNvSpPr>
          <p:nvPr>
            <p:ph type="title"/>
          </p:nvPr>
        </p:nvSpPr>
        <p:spPr>
          <a:xfrm>
            <a:off x="952167" y="729100"/>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113" name="Google Shape;113;p17"/>
          <p:cNvSpPr txBox="1">
            <a:spLocks noGrp="1"/>
          </p:cNvSpPr>
          <p:nvPr>
            <p:ph type="subTitle" idx="1"/>
          </p:nvPr>
        </p:nvSpPr>
        <p:spPr>
          <a:xfrm>
            <a:off x="1902341" y="2724300"/>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114" name="Google Shape;114;p17"/>
          <p:cNvSpPr txBox="1">
            <a:spLocks noGrp="1"/>
          </p:cNvSpPr>
          <p:nvPr>
            <p:ph type="title" idx="2"/>
          </p:nvPr>
        </p:nvSpPr>
        <p:spPr>
          <a:xfrm>
            <a:off x="952167" y="2068600"/>
            <a:ext cx="357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15" name="Google Shape;115;p17"/>
          <p:cNvSpPr txBox="1">
            <a:spLocks noGrp="1"/>
          </p:cNvSpPr>
          <p:nvPr>
            <p:ph type="subTitle" idx="3"/>
          </p:nvPr>
        </p:nvSpPr>
        <p:spPr>
          <a:xfrm>
            <a:off x="1902341" y="4911417"/>
            <a:ext cx="262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None/>
              <a:defRPr sz="1867"/>
            </a:lvl1pPr>
            <a:lvl2pPr lvl="1" algn="r" rtl="0">
              <a:spcBef>
                <a:spcPts val="0"/>
              </a:spcBef>
              <a:spcAft>
                <a:spcPts val="0"/>
              </a:spcAft>
              <a:buNone/>
              <a:defRPr sz="1867"/>
            </a:lvl2pPr>
            <a:lvl3pPr lvl="2" algn="r" rtl="0">
              <a:spcBef>
                <a:spcPts val="0"/>
              </a:spcBef>
              <a:spcAft>
                <a:spcPts val="0"/>
              </a:spcAft>
              <a:buNone/>
              <a:defRPr sz="1867"/>
            </a:lvl3pPr>
            <a:lvl4pPr lvl="3" algn="r" rtl="0">
              <a:spcBef>
                <a:spcPts val="0"/>
              </a:spcBef>
              <a:spcAft>
                <a:spcPts val="0"/>
              </a:spcAft>
              <a:buNone/>
              <a:defRPr sz="1867"/>
            </a:lvl4pPr>
            <a:lvl5pPr lvl="4" algn="r" rtl="0">
              <a:spcBef>
                <a:spcPts val="0"/>
              </a:spcBef>
              <a:spcAft>
                <a:spcPts val="0"/>
              </a:spcAft>
              <a:buNone/>
              <a:defRPr sz="1867"/>
            </a:lvl5pPr>
            <a:lvl6pPr lvl="5" algn="r" rtl="0">
              <a:spcBef>
                <a:spcPts val="0"/>
              </a:spcBef>
              <a:spcAft>
                <a:spcPts val="0"/>
              </a:spcAft>
              <a:buNone/>
              <a:defRPr sz="1867"/>
            </a:lvl6pPr>
            <a:lvl7pPr lvl="6" algn="r" rtl="0">
              <a:spcBef>
                <a:spcPts val="0"/>
              </a:spcBef>
              <a:spcAft>
                <a:spcPts val="0"/>
              </a:spcAft>
              <a:buNone/>
              <a:defRPr sz="1867"/>
            </a:lvl7pPr>
            <a:lvl8pPr lvl="7" algn="r" rtl="0">
              <a:spcBef>
                <a:spcPts val="0"/>
              </a:spcBef>
              <a:spcAft>
                <a:spcPts val="0"/>
              </a:spcAft>
              <a:buNone/>
              <a:defRPr sz="1867"/>
            </a:lvl8pPr>
            <a:lvl9pPr lvl="8" algn="r" rtl="0">
              <a:spcBef>
                <a:spcPts val="0"/>
              </a:spcBef>
              <a:spcAft>
                <a:spcPts val="0"/>
              </a:spcAft>
              <a:buNone/>
              <a:defRPr sz="1867"/>
            </a:lvl9pPr>
          </a:lstStyle>
          <a:p>
            <a:endParaRPr/>
          </a:p>
        </p:txBody>
      </p:sp>
      <p:sp>
        <p:nvSpPr>
          <p:cNvPr id="116" name="Google Shape;116;p17"/>
          <p:cNvSpPr txBox="1">
            <a:spLocks noGrp="1"/>
          </p:cNvSpPr>
          <p:nvPr>
            <p:ph type="title" idx="4"/>
          </p:nvPr>
        </p:nvSpPr>
        <p:spPr>
          <a:xfrm>
            <a:off x="952167" y="4250267"/>
            <a:ext cx="3570400" cy="487600"/>
          </a:xfrm>
          <a:prstGeom prst="rect">
            <a:avLst/>
          </a:prstGeom>
        </p:spPr>
        <p:txBody>
          <a:bodyPr spcFirstLastPara="1" wrap="square" lIns="91425" tIns="91425" rIns="91425" bIns="91425" anchor="ctr" anchorCtr="0">
            <a:noAutofit/>
          </a:bodyPr>
          <a:lstStyle>
            <a:lvl1pPr lvl="0" algn="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17" name="Google Shape;117;p17"/>
          <p:cNvSpPr txBox="1">
            <a:spLocks noGrp="1"/>
          </p:cNvSpPr>
          <p:nvPr>
            <p:ph type="subTitle" idx="5"/>
          </p:nvPr>
        </p:nvSpPr>
        <p:spPr>
          <a:xfrm>
            <a:off x="7669259" y="2724300"/>
            <a:ext cx="26204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118" name="Google Shape;118;p17"/>
          <p:cNvSpPr txBox="1">
            <a:spLocks noGrp="1"/>
          </p:cNvSpPr>
          <p:nvPr>
            <p:ph type="title" idx="6"/>
          </p:nvPr>
        </p:nvSpPr>
        <p:spPr>
          <a:xfrm>
            <a:off x="7669269" y="2068600"/>
            <a:ext cx="35704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19" name="Google Shape;119;p17"/>
          <p:cNvSpPr txBox="1">
            <a:spLocks noGrp="1"/>
          </p:cNvSpPr>
          <p:nvPr>
            <p:ph type="subTitle" idx="7"/>
          </p:nvPr>
        </p:nvSpPr>
        <p:spPr>
          <a:xfrm>
            <a:off x="7669259" y="4911417"/>
            <a:ext cx="2620400" cy="487600"/>
          </a:xfrm>
          <a:prstGeom prst="rect">
            <a:avLst/>
          </a:prstGeom>
        </p:spPr>
        <p:txBody>
          <a:bodyPr spcFirstLastPara="1" wrap="square" lIns="91425" tIns="91425" rIns="91425" bIns="91425" anchor="ctr" anchorCtr="0">
            <a:noAutofit/>
          </a:bodyPr>
          <a:lstStyle>
            <a:lvl1pPr lvl="0" rtl="0">
              <a:spcBef>
                <a:spcPts val="0"/>
              </a:spcBef>
              <a:spcAft>
                <a:spcPts val="0"/>
              </a:spcAft>
              <a:buNone/>
              <a:defRPr sz="1867"/>
            </a:lvl1pPr>
            <a:lvl2pPr lvl="1" rtl="0">
              <a:spcBef>
                <a:spcPts val="0"/>
              </a:spcBef>
              <a:spcAft>
                <a:spcPts val="0"/>
              </a:spcAft>
              <a:buNone/>
              <a:defRPr sz="1867"/>
            </a:lvl2pPr>
            <a:lvl3pPr lvl="2" rtl="0">
              <a:spcBef>
                <a:spcPts val="0"/>
              </a:spcBef>
              <a:spcAft>
                <a:spcPts val="0"/>
              </a:spcAft>
              <a:buNone/>
              <a:defRPr sz="1867"/>
            </a:lvl3pPr>
            <a:lvl4pPr lvl="3" rtl="0">
              <a:spcBef>
                <a:spcPts val="0"/>
              </a:spcBef>
              <a:spcAft>
                <a:spcPts val="0"/>
              </a:spcAft>
              <a:buNone/>
              <a:defRPr sz="1867"/>
            </a:lvl4pPr>
            <a:lvl5pPr lvl="4" rtl="0">
              <a:spcBef>
                <a:spcPts val="0"/>
              </a:spcBef>
              <a:spcAft>
                <a:spcPts val="0"/>
              </a:spcAft>
              <a:buNone/>
              <a:defRPr sz="1867"/>
            </a:lvl5pPr>
            <a:lvl6pPr lvl="5" rtl="0">
              <a:spcBef>
                <a:spcPts val="0"/>
              </a:spcBef>
              <a:spcAft>
                <a:spcPts val="0"/>
              </a:spcAft>
              <a:buNone/>
              <a:defRPr sz="1867"/>
            </a:lvl6pPr>
            <a:lvl7pPr lvl="6" rtl="0">
              <a:spcBef>
                <a:spcPts val="0"/>
              </a:spcBef>
              <a:spcAft>
                <a:spcPts val="0"/>
              </a:spcAft>
              <a:buNone/>
              <a:defRPr sz="1867"/>
            </a:lvl7pPr>
            <a:lvl8pPr lvl="7" rtl="0">
              <a:spcBef>
                <a:spcPts val="0"/>
              </a:spcBef>
              <a:spcAft>
                <a:spcPts val="0"/>
              </a:spcAft>
              <a:buNone/>
              <a:defRPr sz="1867"/>
            </a:lvl8pPr>
            <a:lvl9pPr lvl="8" rtl="0">
              <a:spcBef>
                <a:spcPts val="0"/>
              </a:spcBef>
              <a:spcAft>
                <a:spcPts val="0"/>
              </a:spcAft>
              <a:buNone/>
              <a:defRPr sz="1867"/>
            </a:lvl9pPr>
          </a:lstStyle>
          <a:p>
            <a:endParaRPr/>
          </a:p>
        </p:txBody>
      </p:sp>
      <p:sp>
        <p:nvSpPr>
          <p:cNvPr id="120" name="Google Shape;120;p17"/>
          <p:cNvSpPr txBox="1">
            <a:spLocks noGrp="1"/>
          </p:cNvSpPr>
          <p:nvPr>
            <p:ph type="title" idx="8"/>
          </p:nvPr>
        </p:nvSpPr>
        <p:spPr>
          <a:xfrm>
            <a:off x="7669269" y="4250269"/>
            <a:ext cx="3570400" cy="487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21" name="Google Shape;121;p17"/>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4828602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hanks">
  <p:cSld name="Thanks">
    <p:bg>
      <p:bgPr>
        <a:solidFill>
          <a:schemeClr val="lt2"/>
        </a:solidFill>
        <a:effectLst/>
      </p:bgPr>
    </p:bg>
    <p:spTree>
      <p:nvGrpSpPr>
        <p:cNvPr id="1" name="Shape 122"/>
        <p:cNvGrpSpPr/>
        <p:nvPr/>
      </p:nvGrpSpPr>
      <p:grpSpPr>
        <a:xfrm>
          <a:off x="0" y="0"/>
          <a:ext cx="0" cy="0"/>
          <a:chOff x="0" y="0"/>
          <a:chExt cx="0" cy="0"/>
        </a:xfrm>
      </p:grpSpPr>
      <p:pic>
        <p:nvPicPr>
          <p:cNvPr id="123" name="Google Shape;123;p18"/>
          <p:cNvPicPr preferRelativeResize="0"/>
          <p:nvPr/>
        </p:nvPicPr>
        <p:blipFill>
          <a:blip r:embed="rId2">
            <a:alphaModFix amt="75000"/>
          </a:blip>
          <a:stretch>
            <a:fillRect/>
          </a:stretch>
        </p:blipFill>
        <p:spPr>
          <a:xfrm rot="10800000">
            <a:off x="9444733" y="4212300"/>
            <a:ext cx="2747267" cy="2645701"/>
          </a:xfrm>
          <a:prstGeom prst="rect">
            <a:avLst/>
          </a:prstGeom>
          <a:noFill/>
          <a:ln>
            <a:noFill/>
          </a:ln>
        </p:spPr>
      </p:pic>
      <p:pic>
        <p:nvPicPr>
          <p:cNvPr id="124" name="Google Shape;124;p18"/>
          <p:cNvPicPr preferRelativeResize="0"/>
          <p:nvPr/>
        </p:nvPicPr>
        <p:blipFill>
          <a:blip r:embed="rId3">
            <a:alphaModFix amt="55000"/>
          </a:blip>
          <a:stretch>
            <a:fillRect/>
          </a:stretch>
        </p:blipFill>
        <p:spPr>
          <a:xfrm>
            <a:off x="-4" y="0"/>
            <a:ext cx="4302967" cy="4440533"/>
          </a:xfrm>
          <a:prstGeom prst="rect">
            <a:avLst/>
          </a:prstGeom>
          <a:noFill/>
          <a:ln>
            <a:noFill/>
          </a:ln>
        </p:spPr>
      </p:pic>
      <p:sp>
        <p:nvSpPr>
          <p:cNvPr id="125" name="Google Shape;125;p18"/>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26" name="Google Shape;126;p18"/>
          <p:cNvSpPr txBox="1">
            <a:spLocks noGrp="1"/>
          </p:cNvSpPr>
          <p:nvPr>
            <p:ph type="title"/>
          </p:nvPr>
        </p:nvSpPr>
        <p:spPr>
          <a:xfrm>
            <a:off x="4060000" y="725267"/>
            <a:ext cx="4072000" cy="1208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4000"/>
              <a:buNone/>
              <a:defRPr sz="7466"/>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27" name="Google Shape;127;p18"/>
          <p:cNvSpPr txBox="1">
            <a:spLocks noGrp="1"/>
          </p:cNvSpPr>
          <p:nvPr>
            <p:ph type="subTitle" idx="1"/>
          </p:nvPr>
        </p:nvSpPr>
        <p:spPr>
          <a:xfrm>
            <a:off x="4386000" y="2781300"/>
            <a:ext cx="3420000" cy="1625600"/>
          </a:xfrm>
          <a:prstGeom prst="rect">
            <a:avLst/>
          </a:prstGeom>
        </p:spPr>
        <p:txBody>
          <a:bodyPr spcFirstLastPara="1" wrap="square" lIns="91425" tIns="91425" rIns="91425" bIns="91425" anchor="t" anchorCtr="0">
            <a:noAutofit/>
          </a:bodyPr>
          <a:lstStyle>
            <a:lvl1pPr lvl="0" algn="ctr" rtl="0">
              <a:spcBef>
                <a:spcPts val="0"/>
              </a:spcBef>
              <a:spcAft>
                <a:spcPts val="0"/>
              </a:spcAft>
              <a:buNone/>
              <a:defRPr sz="1867"/>
            </a:lvl1pPr>
            <a:lvl2pPr lvl="1" algn="ctr" rtl="0">
              <a:spcBef>
                <a:spcPts val="0"/>
              </a:spcBef>
              <a:spcAft>
                <a:spcPts val="0"/>
              </a:spcAft>
              <a:buNone/>
              <a:defRPr/>
            </a:lvl2pPr>
            <a:lvl3pPr lvl="2" algn="ctr" rtl="0">
              <a:spcBef>
                <a:spcPts val="0"/>
              </a:spcBef>
              <a:spcAft>
                <a:spcPts val="0"/>
              </a:spcAft>
              <a:buNone/>
              <a:defRPr/>
            </a:lvl3pPr>
            <a:lvl4pPr lvl="3" algn="ctr" rtl="0">
              <a:spcBef>
                <a:spcPts val="0"/>
              </a:spcBef>
              <a:spcAft>
                <a:spcPts val="0"/>
              </a:spcAft>
              <a:buNone/>
              <a:defRPr/>
            </a:lvl4pPr>
            <a:lvl5pPr lvl="4" algn="ctr" rtl="0">
              <a:spcBef>
                <a:spcPts val="0"/>
              </a:spcBef>
              <a:spcAft>
                <a:spcPts val="0"/>
              </a:spcAft>
              <a:buNone/>
              <a:defRPr/>
            </a:lvl5pPr>
            <a:lvl6pPr lvl="5" algn="ctr" rtl="0">
              <a:spcBef>
                <a:spcPts val="0"/>
              </a:spcBef>
              <a:spcAft>
                <a:spcPts val="0"/>
              </a:spcAft>
              <a:buNone/>
              <a:defRPr/>
            </a:lvl6pPr>
            <a:lvl7pPr lvl="6" algn="ctr" rtl="0">
              <a:spcBef>
                <a:spcPts val="0"/>
              </a:spcBef>
              <a:spcAft>
                <a:spcPts val="0"/>
              </a:spcAft>
              <a:buNone/>
              <a:defRPr/>
            </a:lvl7pPr>
            <a:lvl8pPr lvl="7" algn="ctr" rtl="0">
              <a:spcBef>
                <a:spcPts val="0"/>
              </a:spcBef>
              <a:spcAft>
                <a:spcPts val="0"/>
              </a:spcAft>
              <a:buNone/>
              <a:defRPr/>
            </a:lvl8pPr>
            <a:lvl9pPr lvl="8" algn="ctr" rtl="0">
              <a:spcBef>
                <a:spcPts val="0"/>
              </a:spcBef>
              <a:spcAft>
                <a:spcPts val="0"/>
              </a:spcAft>
              <a:buNone/>
              <a:defRPr/>
            </a:lvl9pPr>
          </a:lstStyle>
          <a:p>
            <a:endParaRPr/>
          </a:p>
        </p:txBody>
      </p:sp>
      <p:sp>
        <p:nvSpPr>
          <p:cNvPr id="128" name="Google Shape;128;p18"/>
          <p:cNvSpPr txBox="1"/>
          <p:nvPr/>
        </p:nvSpPr>
        <p:spPr>
          <a:xfrm>
            <a:off x="3547600" y="4335967"/>
            <a:ext cx="5096800" cy="1279200"/>
          </a:xfrm>
          <a:prstGeom prst="rect">
            <a:avLst/>
          </a:prstGeom>
          <a:noFill/>
          <a:ln>
            <a:noFill/>
          </a:ln>
        </p:spPr>
        <p:txBody>
          <a:bodyPr spcFirstLastPara="1" wrap="square" lIns="121900" tIns="121900" rIns="121900" bIns="121900" anchor="ctr" anchorCtr="0">
            <a:noAutofit/>
          </a:bodyPr>
          <a:lstStyle/>
          <a:p>
            <a:pPr marL="0" lvl="0" indent="0" algn="ctr" rtl="0">
              <a:lnSpc>
                <a:spcPct val="115000"/>
              </a:lnSpc>
              <a:spcBef>
                <a:spcPts val="0"/>
              </a:spcBef>
              <a:spcAft>
                <a:spcPts val="0"/>
              </a:spcAft>
              <a:buNone/>
            </a:pPr>
            <a:r>
              <a:rPr lang="en" sz="2400">
                <a:solidFill>
                  <a:schemeClr val="dk2"/>
                </a:solidFill>
                <a:latin typeface="Roboto"/>
                <a:ea typeface="Roboto"/>
                <a:cs typeface="Roboto"/>
                <a:sym typeface="Roboto"/>
              </a:rPr>
              <a:t>CREDITS: This presentation template was created by </a:t>
            </a:r>
            <a:r>
              <a:rPr lang="en" sz="2400" b="1">
                <a:solidFill>
                  <a:schemeClr val="dk2"/>
                </a:solidFill>
                <a:uFill>
                  <a:noFill/>
                </a:uFill>
                <a:latin typeface="Roboto"/>
                <a:ea typeface="Roboto"/>
                <a:cs typeface="Roboto"/>
                <a:sym typeface="Roboto"/>
                <a:hlinkClick r:id="rId4">
                  <a:extLst>
                    <a:ext uri="{A12FA001-AC4F-418D-AE19-62706E023703}">
                      <ahyp:hlinkClr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val="tx"/>
                    </a:ext>
                  </a:extLst>
                </a:hlinkClick>
              </a:rPr>
              <a:t>Slidesgo</a:t>
            </a:r>
            <a:r>
              <a:rPr lang="en" sz="2400">
                <a:solidFill>
                  <a:schemeClr val="dk2"/>
                </a:solidFill>
                <a:latin typeface="Roboto"/>
                <a:ea typeface="Roboto"/>
                <a:cs typeface="Roboto"/>
                <a:sym typeface="Roboto"/>
              </a:rPr>
              <a:t>, including icons by </a:t>
            </a:r>
            <a:r>
              <a:rPr lang="en" sz="2400" b="1">
                <a:solidFill>
                  <a:schemeClr val="dk2"/>
                </a:solidFill>
                <a:uFill>
                  <a:noFill/>
                </a:uFill>
                <a:latin typeface="Roboto"/>
                <a:ea typeface="Roboto"/>
                <a:cs typeface="Roboto"/>
                <a:sym typeface="Roboto"/>
                <a:hlinkClick r:id="rId5">
                  <a:extLst>
                    <a:ext uri="{A12FA001-AC4F-418D-AE19-62706E023703}">
                      <ahyp:hlinkClr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val="tx"/>
                    </a:ext>
                  </a:extLst>
                </a:hlinkClick>
              </a:rPr>
              <a:t>Flaticon</a:t>
            </a:r>
            <a:r>
              <a:rPr lang="en" sz="2400">
                <a:solidFill>
                  <a:schemeClr val="dk2"/>
                </a:solidFill>
                <a:latin typeface="Roboto"/>
                <a:ea typeface="Roboto"/>
                <a:cs typeface="Roboto"/>
                <a:sym typeface="Roboto"/>
              </a:rPr>
              <a:t>, infographics &amp; images by </a:t>
            </a:r>
            <a:r>
              <a:rPr lang="en" sz="2400" b="1">
                <a:solidFill>
                  <a:schemeClr val="dk2"/>
                </a:solidFill>
                <a:uFill>
                  <a:noFill/>
                </a:uFill>
                <a:latin typeface="Roboto"/>
                <a:ea typeface="Roboto"/>
                <a:cs typeface="Roboto"/>
                <a:sym typeface="Roboto"/>
                <a:hlinkClick r:id="rId6">
                  <a:extLst>
                    <a:ext uri="{A12FA001-AC4F-418D-AE19-62706E023703}">
                      <ahyp:hlinkClr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val="tx"/>
                    </a:ext>
                  </a:extLst>
                </a:hlinkClick>
              </a:rPr>
              <a:t>Freepik</a:t>
            </a:r>
            <a:endParaRPr sz="2400">
              <a:solidFill>
                <a:schemeClr val="dk2"/>
              </a:solidFill>
              <a:latin typeface="Roboto"/>
              <a:ea typeface="Roboto"/>
              <a:cs typeface="Roboto"/>
              <a:sym typeface="Roboto"/>
            </a:endParaRPr>
          </a:p>
        </p:txBody>
      </p:sp>
    </p:spTree>
    <p:extLst>
      <p:ext uri="{BB962C8B-B14F-4D97-AF65-F5344CB8AC3E}">
        <p14:creationId xmlns:p14="http://schemas.microsoft.com/office/powerpoint/2010/main" val="27765898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6 columns">
  <p:cSld name="Title and 6 columns">
    <p:bg>
      <p:bgPr>
        <a:solidFill>
          <a:schemeClr val="lt2"/>
        </a:solidFill>
        <a:effectLst/>
      </p:bgPr>
    </p:bg>
    <p:spTree>
      <p:nvGrpSpPr>
        <p:cNvPr id="1" name="Shape 129"/>
        <p:cNvGrpSpPr/>
        <p:nvPr/>
      </p:nvGrpSpPr>
      <p:grpSpPr>
        <a:xfrm>
          <a:off x="0" y="0"/>
          <a:ext cx="0" cy="0"/>
          <a:chOff x="0" y="0"/>
          <a:chExt cx="0" cy="0"/>
        </a:xfrm>
      </p:grpSpPr>
      <p:pic>
        <p:nvPicPr>
          <p:cNvPr id="130" name="Google Shape;130;p19"/>
          <p:cNvPicPr preferRelativeResize="0"/>
          <p:nvPr/>
        </p:nvPicPr>
        <p:blipFill>
          <a:blip r:embed="rId2">
            <a:alphaModFix amt="75000"/>
          </a:blip>
          <a:stretch>
            <a:fillRect/>
          </a:stretch>
        </p:blipFill>
        <p:spPr>
          <a:xfrm flipH="1">
            <a:off x="9444733" y="0"/>
            <a:ext cx="2747267" cy="2645701"/>
          </a:xfrm>
          <a:prstGeom prst="rect">
            <a:avLst/>
          </a:prstGeom>
          <a:noFill/>
          <a:ln>
            <a:noFill/>
          </a:ln>
        </p:spPr>
      </p:pic>
      <p:pic>
        <p:nvPicPr>
          <p:cNvPr id="131" name="Google Shape;131;p19"/>
          <p:cNvPicPr preferRelativeResize="0"/>
          <p:nvPr/>
        </p:nvPicPr>
        <p:blipFill>
          <a:blip r:embed="rId2">
            <a:alphaModFix amt="75000"/>
          </a:blip>
          <a:stretch>
            <a:fillRect/>
          </a:stretch>
        </p:blipFill>
        <p:spPr>
          <a:xfrm rot="10800000" flipH="1">
            <a:off x="0" y="4212300"/>
            <a:ext cx="2747267" cy="2645701"/>
          </a:xfrm>
          <a:prstGeom prst="rect">
            <a:avLst/>
          </a:prstGeom>
          <a:noFill/>
          <a:ln>
            <a:noFill/>
          </a:ln>
        </p:spPr>
      </p:pic>
      <p:sp>
        <p:nvSpPr>
          <p:cNvPr id="132" name="Google Shape;132;p19"/>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33" name="Google Shape;133;p19"/>
          <p:cNvSpPr txBox="1">
            <a:spLocks noGrp="1"/>
          </p:cNvSpPr>
          <p:nvPr>
            <p:ph type="subTitle" idx="1"/>
          </p:nvPr>
        </p:nvSpPr>
        <p:spPr>
          <a:xfrm>
            <a:off x="731151" y="27161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34" name="Google Shape;134;p19"/>
          <p:cNvSpPr txBox="1">
            <a:spLocks noGrp="1"/>
          </p:cNvSpPr>
          <p:nvPr>
            <p:ph type="subTitle" idx="2"/>
          </p:nvPr>
        </p:nvSpPr>
        <p:spPr>
          <a:xfrm>
            <a:off x="8290851" y="27161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35" name="Google Shape;135;p19"/>
          <p:cNvSpPr txBox="1">
            <a:spLocks noGrp="1"/>
          </p:cNvSpPr>
          <p:nvPr>
            <p:ph type="subTitle" idx="3"/>
          </p:nvPr>
        </p:nvSpPr>
        <p:spPr>
          <a:xfrm>
            <a:off x="4511000" y="27161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36" name="Google Shape;136;p19"/>
          <p:cNvSpPr txBox="1">
            <a:spLocks noGrp="1"/>
          </p:cNvSpPr>
          <p:nvPr>
            <p:ph type="title"/>
          </p:nvPr>
        </p:nvSpPr>
        <p:spPr>
          <a:xfrm>
            <a:off x="1116151" y="21352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37" name="Google Shape;137;p19"/>
          <p:cNvSpPr txBox="1">
            <a:spLocks noGrp="1"/>
          </p:cNvSpPr>
          <p:nvPr>
            <p:ph type="title" idx="4"/>
          </p:nvPr>
        </p:nvSpPr>
        <p:spPr>
          <a:xfrm>
            <a:off x="8675851" y="21352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38" name="Google Shape;138;p19"/>
          <p:cNvSpPr txBox="1">
            <a:spLocks noGrp="1"/>
          </p:cNvSpPr>
          <p:nvPr>
            <p:ph type="title" idx="5"/>
          </p:nvPr>
        </p:nvSpPr>
        <p:spPr>
          <a:xfrm>
            <a:off x="4896000" y="21352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39" name="Google Shape;139;p19"/>
          <p:cNvSpPr txBox="1">
            <a:spLocks noGrp="1"/>
          </p:cNvSpPr>
          <p:nvPr>
            <p:ph type="title" idx="6"/>
          </p:nvPr>
        </p:nvSpPr>
        <p:spPr>
          <a:xfrm>
            <a:off x="952167" y="725433"/>
            <a:ext cx="102876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2400"/>
              <a:buNone/>
              <a:defRPr sz="4000"/>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40" name="Google Shape;140;p19"/>
          <p:cNvSpPr txBox="1">
            <a:spLocks noGrp="1"/>
          </p:cNvSpPr>
          <p:nvPr>
            <p:ph type="subTitle" idx="7"/>
          </p:nvPr>
        </p:nvSpPr>
        <p:spPr>
          <a:xfrm>
            <a:off x="731151" y="50402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41" name="Google Shape;141;p19"/>
          <p:cNvSpPr txBox="1">
            <a:spLocks noGrp="1"/>
          </p:cNvSpPr>
          <p:nvPr>
            <p:ph type="subTitle" idx="8"/>
          </p:nvPr>
        </p:nvSpPr>
        <p:spPr>
          <a:xfrm>
            <a:off x="8290851" y="50402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42" name="Google Shape;142;p19"/>
          <p:cNvSpPr txBox="1">
            <a:spLocks noGrp="1"/>
          </p:cNvSpPr>
          <p:nvPr>
            <p:ph type="subTitle" idx="9"/>
          </p:nvPr>
        </p:nvSpPr>
        <p:spPr>
          <a:xfrm>
            <a:off x="4511000" y="5040251"/>
            <a:ext cx="3170000" cy="609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1867"/>
            </a:lvl1pPr>
            <a:lvl2pPr lvl="1" algn="ctr" rtl="0">
              <a:spcBef>
                <a:spcPts val="0"/>
              </a:spcBef>
              <a:spcAft>
                <a:spcPts val="0"/>
              </a:spcAft>
              <a:buNone/>
              <a:defRPr sz="1867"/>
            </a:lvl2pPr>
            <a:lvl3pPr lvl="2" algn="ctr" rtl="0">
              <a:spcBef>
                <a:spcPts val="0"/>
              </a:spcBef>
              <a:spcAft>
                <a:spcPts val="0"/>
              </a:spcAft>
              <a:buNone/>
              <a:defRPr sz="1867"/>
            </a:lvl3pPr>
            <a:lvl4pPr lvl="3" algn="ctr" rtl="0">
              <a:spcBef>
                <a:spcPts val="0"/>
              </a:spcBef>
              <a:spcAft>
                <a:spcPts val="0"/>
              </a:spcAft>
              <a:buNone/>
              <a:defRPr sz="1867"/>
            </a:lvl4pPr>
            <a:lvl5pPr lvl="4" algn="ctr" rtl="0">
              <a:spcBef>
                <a:spcPts val="0"/>
              </a:spcBef>
              <a:spcAft>
                <a:spcPts val="0"/>
              </a:spcAft>
              <a:buNone/>
              <a:defRPr sz="1867"/>
            </a:lvl5pPr>
            <a:lvl6pPr lvl="5" algn="ctr" rtl="0">
              <a:spcBef>
                <a:spcPts val="0"/>
              </a:spcBef>
              <a:spcAft>
                <a:spcPts val="0"/>
              </a:spcAft>
              <a:buNone/>
              <a:defRPr sz="1867"/>
            </a:lvl6pPr>
            <a:lvl7pPr lvl="6" algn="ctr" rtl="0">
              <a:spcBef>
                <a:spcPts val="0"/>
              </a:spcBef>
              <a:spcAft>
                <a:spcPts val="0"/>
              </a:spcAft>
              <a:buNone/>
              <a:defRPr sz="1867"/>
            </a:lvl7pPr>
            <a:lvl8pPr lvl="7" algn="ctr" rtl="0">
              <a:spcBef>
                <a:spcPts val="0"/>
              </a:spcBef>
              <a:spcAft>
                <a:spcPts val="0"/>
              </a:spcAft>
              <a:buNone/>
              <a:defRPr sz="1867"/>
            </a:lvl8pPr>
            <a:lvl9pPr lvl="8" algn="ctr" rtl="0">
              <a:spcBef>
                <a:spcPts val="0"/>
              </a:spcBef>
              <a:spcAft>
                <a:spcPts val="0"/>
              </a:spcAft>
              <a:buNone/>
              <a:defRPr sz="1867"/>
            </a:lvl9pPr>
          </a:lstStyle>
          <a:p>
            <a:endParaRPr/>
          </a:p>
        </p:txBody>
      </p:sp>
      <p:sp>
        <p:nvSpPr>
          <p:cNvPr id="143" name="Google Shape;143;p19"/>
          <p:cNvSpPr txBox="1">
            <a:spLocks noGrp="1"/>
          </p:cNvSpPr>
          <p:nvPr>
            <p:ph type="title" idx="13"/>
          </p:nvPr>
        </p:nvSpPr>
        <p:spPr>
          <a:xfrm>
            <a:off x="1116151" y="44593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44" name="Google Shape;144;p19"/>
          <p:cNvSpPr txBox="1">
            <a:spLocks noGrp="1"/>
          </p:cNvSpPr>
          <p:nvPr>
            <p:ph type="title" idx="14"/>
          </p:nvPr>
        </p:nvSpPr>
        <p:spPr>
          <a:xfrm>
            <a:off x="8675851" y="44593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45" name="Google Shape;145;p19"/>
          <p:cNvSpPr txBox="1">
            <a:spLocks noGrp="1"/>
          </p:cNvSpPr>
          <p:nvPr>
            <p:ph type="title" idx="15"/>
          </p:nvPr>
        </p:nvSpPr>
        <p:spPr>
          <a:xfrm>
            <a:off x="4896000" y="4459351"/>
            <a:ext cx="2400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2"/>
              </a:buClr>
              <a:buSzPts val="1800"/>
              <a:buNone/>
              <a:defRPr sz="2667"/>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Tree>
    <p:extLst>
      <p:ext uri="{BB962C8B-B14F-4D97-AF65-F5344CB8AC3E}">
        <p14:creationId xmlns:p14="http://schemas.microsoft.com/office/powerpoint/2010/main" val="25443785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Numbers and text">
  <p:cSld name="Numbers and text">
    <p:bg>
      <p:bgPr>
        <a:solidFill>
          <a:schemeClr val="lt2"/>
        </a:solidFill>
        <a:effectLst/>
      </p:bgPr>
    </p:bg>
    <p:spTree>
      <p:nvGrpSpPr>
        <p:cNvPr id="1" name="Shape 146"/>
        <p:cNvGrpSpPr/>
        <p:nvPr/>
      </p:nvGrpSpPr>
      <p:grpSpPr>
        <a:xfrm>
          <a:off x="0" y="0"/>
          <a:ext cx="0" cy="0"/>
          <a:chOff x="0" y="0"/>
          <a:chExt cx="0" cy="0"/>
        </a:xfrm>
      </p:grpSpPr>
      <p:pic>
        <p:nvPicPr>
          <p:cNvPr id="147" name="Google Shape;147;p20"/>
          <p:cNvPicPr preferRelativeResize="0"/>
          <p:nvPr/>
        </p:nvPicPr>
        <p:blipFill>
          <a:blip r:embed="rId2">
            <a:alphaModFix amt="75000"/>
          </a:blip>
          <a:stretch>
            <a:fillRect/>
          </a:stretch>
        </p:blipFill>
        <p:spPr>
          <a:xfrm flipH="1">
            <a:off x="9444733" y="0"/>
            <a:ext cx="2747267" cy="2645701"/>
          </a:xfrm>
          <a:prstGeom prst="rect">
            <a:avLst/>
          </a:prstGeom>
          <a:noFill/>
          <a:ln>
            <a:noFill/>
          </a:ln>
        </p:spPr>
      </p:pic>
      <p:pic>
        <p:nvPicPr>
          <p:cNvPr id="148" name="Google Shape;148;p20"/>
          <p:cNvPicPr preferRelativeResize="0"/>
          <p:nvPr/>
        </p:nvPicPr>
        <p:blipFill>
          <a:blip r:embed="rId2">
            <a:alphaModFix amt="75000"/>
          </a:blip>
          <a:stretch>
            <a:fillRect/>
          </a:stretch>
        </p:blipFill>
        <p:spPr>
          <a:xfrm rot="10800000" flipH="1">
            <a:off x="0" y="4212300"/>
            <a:ext cx="2747267" cy="2645701"/>
          </a:xfrm>
          <a:prstGeom prst="rect">
            <a:avLst/>
          </a:prstGeom>
          <a:noFill/>
          <a:ln>
            <a:noFill/>
          </a:ln>
        </p:spPr>
      </p:pic>
      <p:sp>
        <p:nvSpPr>
          <p:cNvPr id="149" name="Google Shape;149;p20"/>
          <p:cNvSpPr txBox="1">
            <a:spLocks noGrp="1"/>
          </p:cNvSpPr>
          <p:nvPr>
            <p:ph type="subTitle" idx="1"/>
          </p:nvPr>
        </p:nvSpPr>
        <p:spPr>
          <a:xfrm>
            <a:off x="3187600" y="2363351"/>
            <a:ext cx="58168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2133"/>
            </a:lvl1pPr>
            <a:lvl2pPr lvl="1" algn="ctr" rtl="0">
              <a:spcBef>
                <a:spcPts val="0"/>
              </a:spcBef>
              <a:spcAft>
                <a:spcPts val="0"/>
              </a:spcAft>
              <a:buNone/>
              <a:defRPr sz="2133"/>
            </a:lvl2pPr>
            <a:lvl3pPr lvl="2" algn="ctr" rtl="0">
              <a:spcBef>
                <a:spcPts val="0"/>
              </a:spcBef>
              <a:spcAft>
                <a:spcPts val="0"/>
              </a:spcAft>
              <a:buNone/>
              <a:defRPr sz="2133"/>
            </a:lvl3pPr>
            <a:lvl4pPr lvl="3" algn="ctr" rtl="0">
              <a:spcBef>
                <a:spcPts val="0"/>
              </a:spcBef>
              <a:spcAft>
                <a:spcPts val="0"/>
              </a:spcAft>
              <a:buNone/>
              <a:defRPr sz="2133"/>
            </a:lvl4pPr>
            <a:lvl5pPr lvl="4" algn="ctr" rtl="0">
              <a:spcBef>
                <a:spcPts val="0"/>
              </a:spcBef>
              <a:spcAft>
                <a:spcPts val="0"/>
              </a:spcAft>
              <a:buNone/>
              <a:defRPr sz="2133"/>
            </a:lvl5pPr>
            <a:lvl6pPr lvl="5" algn="ctr" rtl="0">
              <a:spcBef>
                <a:spcPts val="0"/>
              </a:spcBef>
              <a:spcAft>
                <a:spcPts val="0"/>
              </a:spcAft>
              <a:buNone/>
              <a:defRPr sz="2133"/>
            </a:lvl6pPr>
            <a:lvl7pPr lvl="6" algn="ctr" rtl="0">
              <a:spcBef>
                <a:spcPts val="0"/>
              </a:spcBef>
              <a:spcAft>
                <a:spcPts val="0"/>
              </a:spcAft>
              <a:buNone/>
              <a:defRPr sz="2133"/>
            </a:lvl7pPr>
            <a:lvl8pPr lvl="7" algn="ctr" rtl="0">
              <a:spcBef>
                <a:spcPts val="0"/>
              </a:spcBef>
              <a:spcAft>
                <a:spcPts val="0"/>
              </a:spcAft>
              <a:buNone/>
              <a:defRPr sz="2133"/>
            </a:lvl8pPr>
            <a:lvl9pPr lvl="8" algn="ctr" rtl="0">
              <a:spcBef>
                <a:spcPts val="0"/>
              </a:spcBef>
              <a:spcAft>
                <a:spcPts val="0"/>
              </a:spcAft>
              <a:buNone/>
              <a:defRPr sz="2133"/>
            </a:lvl9pPr>
          </a:lstStyle>
          <a:p>
            <a:endParaRPr/>
          </a:p>
        </p:txBody>
      </p:sp>
      <p:sp>
        <p:nvSpPr>
          <p:cNvPr id="150" name="Google Shape;150;p20"/>
          <p:cNvSpPr txBox="1">
            <a:spLocks noGrp="1"/>
          </p:cNvSpPr>
          <p:nvPr>
            <p:ph type="title" hasCustomPrompt="1"/>
          </p:nvPr>
        </p:nvSpPr>
        <p:spPr>
          <a:xfrm>
            <a:off x="3524000" y="1632151"/>
            <a:ext cx="5144000" cy="664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5"/>
              </a:buClr>
              <a:buSzPts val="3600"/>
              <a:buNone/>
              <a:defRPr sz="5067"/>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151" name="Google Shape;151;p20"/>
          <p:cNvSpPr txBox="1">
            <a:spLocks noGrp="1"/>
          </p:cNvSpPr>
          <p:nvPr>
            <p:ph type="subTitle" idx="2"/>
          </p:nvPr>
        </p:nvSpPr>
        <p:spPr>
          <a:xfrm>
            <a:off x="3187600" y="3998743"/>
            <a:ext cx="5816800" cy="487600"/>
          </a:xfrm>
          <a:prstGeom prst="rect">
            <a:avLst/>
          </a:prstGeom>
        </p:spPr>
        <p:txBody>
          <a:bodyPr spcFirstLastPara="1" wrap="square" lIns="91425" tIns="91425" rIns="91425" bIns="91425" anchor="ctr" anchorCtr="0">
            <a:noAutofit/>
          </a:bodyPr>
          <a:lstStyle>
            <a:lvl1pPr lvl="0" algn="ctr" rtl="0">
              <a:lnSpc>
                <a:spcPct val="150000"/>
              </a:lnSpc>
              <a:spcBef>
                <a:spcPts val="0"/>
              </a:spcBef>
              <a:spcAft>
                <a:spcPts val="0"/>
              </a:spcAft>
              <a:buNone/>
              <a:defRPr sz="2133"/>
            </a:lvl1pPr>
            <a:lvl2pPr lvl="1" algn="ctr" rtl="0">
              <a:lnSpc>
                <a:spcPct val="150000"/>
              </a:lnSpc>
              <a:spcBef>
                <a:spcPts val="0"/>
              </a:spcBef>
              <a:spcAft>
                <a:spcPts val="0"/>
              </a:spcAft>
              <a:buNone/>
              <a:defRPr sz="2133"/>
            </a:lvl2pPr>
            <a:lvl3pPr lvl="2" algn="ctr" rtl="0">
              <a:lnSpc>
                <a:spcPct val="150000"/>
              </a:lnSpc>
              <a:spcBef>
                <a:spcPts val="0"/>
              </a:spcBef>
              <a:spcAft>
                <a:spcPts val="0"/>
              </a:spcAft>
              <a:buNone/>
              <a:defRPr sz="2133"/>
            </a:lvl3pPr>
            <a:lvl4pPr lvl="3" algn="ctr" rtl="0">
              <a:lnSpc>
                <a:spcPct val="150000"/>
              </a:lnSpc>
              <a:spcBef>
                <a:spcPts val="0"/>
              </a:spcBef>
              <a:spcAft>
                <a:spcPts val="0"/>
              </a:spcAft>
              <a:buNone/>
              <a:defRPr sz="2133"/>
            </a:lvl4pPr>
            <a:lvl5pPr lvl="4" algn="ctr" rtl="0">
              <a:lnSpc>
                <a:spcPct val="150000"/>
              </a:lnSpc>
              <a:spcBef>
                <a:spcPts val="0"/>
              </a:spcBef>
              <a:spcAft>
                <a:spcPts val="0"/>
              </a:spcAft>
              <a:buNone/>
              <a:defRPr sz="2133"/>
            </a:lvl5pPr>
            <a:lvl6pPr lvl="5" algn="ctr" rtl="0">
              <a:lnSpc>
                <a:spcPct val="150000"/>
              </a:lnSpc>
              <a:spcBef>
                <a:spcPts val="0"/>
              </a:spcBef>
              <a:spcAft>
                <a:spcPts val="0"/>
              </a:spcAft>
              <a:buNone/>
              <a:defRPr sz="2133"/>
            </a:lvl6pPr>
            <a:lvl7pPr lvl="6" algn="ctr" rtl="0">
              <a:lnSpc>
                <a:spcPct val="150000"/>
              </a:lnSpc>
              <a:spcBef>
                <a:spcPts val="0"/>
              </a:spcBef>
              <a:spcAft>
                <a:spcPts val="0"/>
              </a:spcAft>
              <a:buNone/>
              <a:defRPr sz="2133"/>
            </a:lvl7pPr>
            <a:lvl8pPr lvl="7" algn="ctr" rtl="0">
              <a:lnSpc>
                <a:spcPct val="150000"/>
              </a:lnSpc>
              <a:spcBef>
                <a:spcPts val="0"/>
              </a:spcBef>
              <a:spcAft>
                <a:spcPts val="0"/>
              </a:spcAft>
              <a:buNone/>
              <a:defRPr sz="2133"/>
            </a:lvl8pPr>
            <a:lvl9pPr lvl="8" algn="ctr" rtl="0">
              <a:lnSpc>
                <a:spcPct val="150000"/>
              </a:lnSpc>
              <a:spcBef>
                <a:spcPts val="0"/>
              </a:spcBef>
              <a:spcAft>
                <a:spcPts val="0"/>
              </a:spcAft>
              <a:buNone/>
              <a:defRPr sz="2133"/>
            </a:lvl9pPr>
          </a:lstStyle>
          <a:p>
            <a:endParaRPr/>
          </a:p>
        </p:txBody>
      </p:sp>
      <p:sp>
        <p:nvSpPr>
          <p:cNvPr id="152" name="Google Shape;152;p20"/>
          <p:cNvSpPr txBox="1">
            <a:spLocks noGrp="1"/>
          </p:cNvSpPr>
          <p:nvPr>
            <p:ph type="title" idx="3" hasCustomPrompt="1"/>
          </p:nvPr>
        </p:nvSpPr>
        <p:spPr>
          <a:xfrm>
            <a:off x="3524000" y="3268079"/>
            <a:ext cx="5144000" cy="664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5"/>
              </a:buClr>
              <a:buSzPts val="3600"/>
              <a:buNone/>
              <a:defRPr sz="5067"/>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153" name="Google Shape;153;p20"/>
          <p:cNvSpPr txBox="1">
            <a:spLocks noGrp="1"/>
          </p:cNvSpPr>
          <p:nvPr>
            <p:ph type="subTitle" idx="4"/>
          </p:nvPr>
        </p:nvSpPr>
        <p:spPr>
          <a:xfrm>
            <a:off x="3187600" y="5634136"/>
            <a:ext cx="5816800" cy="4876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None/>
              <a:defRPr sz="2133"/>
            </a:lvl1pPr>
            <a:lvl2pPr lvl="1" algn="ctr" rtl="0">
              <a:lnSpc>
                <a:spcPct val="100000"/>
              </a:lnSpc>
              <a:spcBef>
                <a:spcPts val="0"/>
              </a:spcBef>
              <a:spcAft>
                <a:spcPts val="0"/>
              </a:spcAft>
              <a:buNone/>
              <a:defRPr sz="2133"/>
            </a:lvl2pPr>
            <a:lvl3pPr lvl="2" algn="ctr" rtl="0">
              <a:lnSpc>
                <a:spcPct val="100000"/>
              </a:lnSpc>
              <a:spcBef>
                <a:spcPts val="0"/>
              </a:spcBef>
              <a:spcAft>
                <a:spcPts val="0"/>
              </a:spcAft>
              <a:buNone/>
              <a:defRPr sz="2133"/>
            </a:lvl3pPr>
            <a:lvl4pPr lvl="3" algn="ctr" rtl="0">
              <a:lnSpc>
                <a:spcPct val="100000"/>
              </a:lnSpc>
              <a:spcBef>
                <a:spcPts val="0"/>
              </a:spcBef>
              <a:spcAft>
                <a:spcPts val="0"/>
              </a:spcAft>
              <a:buNone/>
              <a:defRPr sz="2133"/>
            </a:lvl4pPr>
            <a:lvl5pPr lvl="4" algn="ctr" rtl="0">
              <a:lnSpc>
                <a:spcPct val="100000"/>
              </a:lnSpc>
              <a:spcBef>
                <a:spcPts val="0"/>
              </a:spcBef>
              <a:spcAft>
                <a:spcPts val="0"/>
              </a:spcAft>
              <a:buNone/>
              <a:defRPr sz="2133"/>
            </a:lvl5pPr>
            <a:lvl6pPr lvl="5" algn="ctr" rtl="0">
              <a:lnSpc>
                <a:spcPct val="100000"/>
              </a:lnSpc>
              <a:spcBef>
                <a:spcPts val="0"/>
              </a:spcBef>
              <a:spcAft>
                <a:spcPts val="0"/>
              </a:spcAft>
              <a:buNone/>
              <a:defRPr sz="2133"/>
            </a:lvl6pPr>
            <a:lvl7pPr lvl="6" algn="ctr" rtl="0">
              <a:lnSpc>
                <a:spcPct val="100000"/>
              </a:lnSpc>
              <a:spcBef>
                <a:spcPts val="0"/>
              </a:spcBef>
              <a:spcAft>
                <a:spcPts val="0"/>
              </a:spcAft>
              <a:buNone/>
              <a:defRPr sz="2133"/>
            </a:lvl7pPr>
            <a:lvl8pPr lvl="7" algn="ctr" rtl="0">
              <a:lnSpc>
                <a:spcPct val="100000"/>
              </a:lnSpc>
              <a:spcBef>
                <a:spcPts val="0"/>
              </a:spcBef>
              <a:spcAft>
                <a:spcPts val="0"/>
              </a:spcAft>
              <a:buNone/>
              <a:defRPr sz="2133"/>
            </a:lvl8pPr>
            <a:lvl9pPr lvl="8" algn="ctr" rtl="0">
              <a:lnSpc>
                <a:spcPct val="100000"/>
              </a:lnSpc>
              <a:spcBef>
                <a:spcPts val="0"/>
              </a:spcBef>
              <a:spcAft>
                <a:spcPts val="0"/>
              </a:spcAft>
              <a:buNone/>
              <a:defRPr sz="2133"/>
            </a:lvl9pPr>
          </a:lstStyle>
          <a:p>
            <a:endParaRPr/>
          </a:p>
        </p:txBody>
      </p:sp>
      <p:sp>
        <p:nvSpPr>
          <p:cNvPr id="154" name="Google Shape;154;p20"/>
          <p:cNvSpPr txBox="1">
            <a:spLocks noGrp="1"/>
          </p:cNvSpPr>
          <p:nvPr>
            <p:ph type="title" idx="5" hasCustomPrompt="1"/>
          </p:nvPr>
        </p:nvSpPr>
        <p:spPr>
          <a:xfrm>
            <a:off x="3524000" y="4904007"/>
            <a:ext cx="5144000" cy="664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accent5"/>
              </a:buClr>
              <a:buSzPts val="3600"/>
              <a:buNone/>
              <a:defRPr sz="5067"/>
            </a:lvl1pPr>
            <a:lvl2pPr lvl="1" algn="ctr" rtl="0">
              <a:spcBef>
                <a:spcPts val="0"/>
              </a:spcBef>
              <a:spcAft>
                <a:spcPts val="0"/>
              </a:spcAft>
              <a:buClr>
                <a:schemeClr val="accent5"/>
              </a:buClr>
              <a:buSzPts val="3600"/>
              <a:buNone/>
              <a:defRPr sz="4800">
                <a:solidFill>
                  <a:schemeClr val="accent5"/>
                </a:solidFill>
              </a:defRPr>
            </a:lvl2pPr>
            <a:lvl3pPr lvl="2" algn="ctr" rtl="0">
              <a:spcBef>
                <a:spcPts val="0"/>
              </a:spcBef>
              <a:spcAft>
                <a:spcPts val="0"/>
              </a:spcAft>
              <a:buClr>
                <a:schemeClr val="accent5"/>
              </a:buClr>
              <a:buSzPts val="3600"/>
              <a:buNone/>
              <a:defRPr sz="4800">
                <a:solidFill>
                  <a:schemeClr val="accent5"/>
                </a:solidFill>
              </a:defRPr>
            </a:lvl3pPr>
            <a:lvl4pPr lvl="3" algn="ctr" rtl="0">
              <a:spcBef>
                <a:spcPts val="0"/>
              </a:spcBef>
              <a:spcAft>
                <a:spcPts val="0"/>
              </a:spcAft>
              <a:buClr>
                <a:schemeClr val="accent5"/>
              </a:buClr>
              <a:buSzPts val="3600"/>
              <a:buNone/>
              <a:defRPr sz="4800">
                <a:solidFill>
                  <a:schemeClr val="accent5"/>
                </a:solidFill>
              </a:defRPr>
            </a:lvl4pPr>
            <a:lvl5pPr lvl="4" algn="ctr" rtl="0">
              <a:spcBef>
                <a:spcPts val="0"/>
              </a:spcBef>
              <a:spcAft>
                <a:spcPts val="0"/>
              </a:spcAft>
              <a:buClr>
                <a:schemeClr val="accent5"/>
              </a:buClr>
              <a:buSzPts val="3600"/>
              <a:buNone/>
              <a:defRPr sz="4800">
                <a:solidFill>
                  <a:schemeClr val="accent5"/>
                </a:solidFill>
              </a:defRPr>
            </a:lvl5pPr>
            <a:lvl6pPr lvl="5" algn="ctr" rtl="0">
              <a:spcBef>
                <a:spcPts val="0"/>
              </a:spcBef>
              <a:spcAft>
                <a:spcPts val="0"/>
              </a:spcAft>
              <a:buClr>
                <a:schemeClr val="accent5"/>
              </a:buClr>
              <a:buSzPts val="3600"/>
              <a:buNone/>
              <a:defRPr sz="4800">
                <a:solidFill>
                  <a:schemeClr val="accent5"/>
                </a:solidFill>
              </a:defRPr>
            </a:lvl6pPr>
            <a:lvl7pPr lvl="6" algn="ctr" rtl="0">
              <a:spcBef>
                <a:spcPts val="0"/>
              </a:spcBef>
              <a:spcAft>
                <a:spcPts val="0"/>
              </a:spcAft>
              <a:buClr>
                <a:schemeClr val="accent5"/>
              </a:buClr>
              <a:buSzPts val="3600"/>
              <a:buNone/>
              <a:defRPr sz="4800">
                <a:solidFill>
                  <a:schemeClr val="accent5"/>
                </a:solidFill>
              </a:defRPr>
            </a:lvl7pPr>
            <a:lvl8pPr lvl="7" algn="ctr" rtl="0">
              <a:spcBef>
                <a:spcPts val="0"/>
              </a:spcBef>
              <a:spcAft>
                <a:spcPts val="0"/>
              </a:spcAft>
              <a:buClr>
                <a:schemeClr val="accent5"/>
              </a:buClr>
              <a:buSzPts val="3600"/>
              <a:buNone/>
              <a:defRPr sz="4800">
                <a:solidFill>
                  <a:schemeClr val="accent5"/>
                </a:solidFill>
              </a:defRPr>
            </a:lvl8pPr>
            <a:lvl9pPr lvl="8" algn="ctr" rtl="0">
              <a:spcBef>
                <a:spcPts val="0"/>
              </a:spcBef>
              <a:spcAft>
                <a:spcPts val="0"/>
              </a:spcAft>
              <a:buClr>
                <a:schemeClr val="accent5"/>
              </a:buClr>
              <a:buSzPts val="3600"/>
              <a:buNone/>
              <a:defRPr sz="4800">
                <a:solidFill>
                  <a:schemeClr val="accent5"/>
                </a:solidFill>
              </a:defRPr>
            </a:lvl9pPr>
          </a:lstStyle>
          <a:p>
            <a:r>
              <a:t>xx%</a:t>
            </a:r>
          </a:p>
        </p:txBody>
      </p:sp>
      <p:sp>
        <p:nvSpPr>
          <p:cNvPr id="155" name="Google Shape;155;p20"/>
          <p:cNvSpPr txBox="1">
            <a:spLocks noGrp="1"/>
          </p:cNvSpPr>
          <p:nvPr>
            <p:ph type="title" idx="6"/>
          </p:nvPr>
        </p:nvSpPr>
        <p:spPr>
          <a:xfrm>
            <a:off x="952167" y="729100"/>
            <a:ext cx="10214000" cy="48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2400"/>
              <a:buNone/>
              <a:defRPr sz="4000"/>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sp>
        <p:nvSpPr>
          <p:cNvPr id="156" name="Google Shape;156;p20"/>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7898503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Quote">
  <p:cSld name="Quote">
    <p:bg>
      <p:bgPr>
        <a:solidFill>
          <a:schemeClr val="lt2"/>
        </a:solidFill>
        <a:effectLst/>
      </p:bgPr>
    </p:bg>
    <p:spTree>
      <p:nvGrpSpPr>
        <p:cNvPr id="1" name="Shape 157"/>
        <p:cNvGrpSpPr/>
        <p:nvPr/>
      </p:nvGrpSpPr>
      <p:grpSpPr>
        <a:xfrm>
          <a:off x="0" y="0"/>
          <a:ext cx="0" cy="0"/>
          <a:chOff x="0" y="0"/>
          <a:chExt cx="0" cy="0"/>
        </a:xfrm>
      </p:grpSpPr>
      <p:pic>
        <p:nvPicPr>
          <p:cNvPr id="158" name="Google Shape;158;p21"/>
          <p:cNvPicPr preferRelativeResize="0"/>
          <p:nvPr/>
        </p:nvPicPr>
        <p:blipFill>
          <a:blip r:embed="rId2">
            <a:alphaModFix amt="35000"/>
          </a:blip>
          <a:stretch>
            <a:fillRect/>
          </a:stretch>
        </p:blipFill>
        <p:spPr>
          <a:xfrm>
            <a:off x="1568451" y="1543051"/>
            <a:ext cx="9055100" cy="3771900"/>
          </a:xfrm>
          <a:prstGeom prst="rect">
            <a:avLst/>
          </a:prstGeom>
          <a:noFill/>
          <a:ln>
            <a:noFill/>
          </a:ln>
        </p:spPr>
      </p:pic>
      <p:sp>
        <p:nvSpPr>
          <p:cNvPr id="159" name="Google Shape;159;p21"/>
          <p:cNvSpPr txBox="1">
            <a:spLocks noGrp="1"/>
          </p:cNvSpPr>
          <p:nvPr>
            <p:ph type="subTitle" idx="1"/>
          </p:nvPr>
        </p:nvSpPr>
        <p:spPr>
          <a:xfrm>
            <a:off x="3817800" y="4597508"/>
            <a:ext cx="4556400" cy="5472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None/>
              <a:defRPr sz="2667"/>
            </a:lvl1pPr>
            <a:lvl2pPr lvl="1" rtl="0">
              <a:spcBef>
                <a:spcPts val="0"/>
              </a:spcBef>
              <a:spcAft>
                <a:spcPts val="0"/>
              </a:spcAft>
              <a:buNone/>
              <a:defRPr sz="2667"/>
            </a:lvl2pPr>
            <a:lvl3pPr lvl="2" rtl="0">
              <a:spcBef>
                <a:spcPts val="0"/>
              </a:spcBef>
              <a:spcAft>
                <a:spcPts val="0"/>
              </a:spcAft>
              <a:buNone/>
              <a:defRPr sz="2667"/>
            </a:lvl3pPr>
            <a:lvl4pPr lvl="3" rtl="0">
              <a:spcBef>
                <a:spcPts val="0"/>
              </a:spcBef>
              <a:spcAft>
                <a:spcPts val="0"/>
              </a:spcAft>
              <a:buNone/>
              <a:defRPr sz="2667"/>
            </a:lvl4pPr>
            <a:lvl5pPr lvl="4" rtl="0">
              <a:spcBef>
                <a:spcPts val="0"/>
              </a:spcBef>
              <a:spcAft>
                <a:spcPts val="0"/>
              </a:spcAft>
              <a:buNone/>
              <a:defRPr sz="2667"/>
            </a:lvl5pPr>
            <a:lvl6pPr lvl="5" rtl="0">
              <a:spcBef>
                <a:spcPts val="0"/>
              </a:spcBef>
              <a:spcAft>
                <a:spcPts val="0"/>
              </a:spcAft>
              <a:buNone/>
              <a:defRPr sz="2667"/>
            </a:lvl6pPr>
            <a:lvl7pPr lvl="6" rtl="0">
              <a:spcBef>
                <a:spcPts val="0"/>
              </a:spcBef>
              <a:spcAft>
                <a:spcPts val="0"/>
              </a:spcAft>
              <a:buNone/>
              <a:defRPr sz="2667"/>
            </a:lvl7pPr>
            <a:lvl8pPr lvl="7" rtl="0">
              <a:spcBef>
                <a:spcPts val="0"/>
              </a:spcBef>
              <a:spcAft>
                <a:spcPts val="0"/>
              </a:spcAft>
              <a:buNone/>
              <a:defRPr sz="2667"/>
            </a:lvl8pPr>
            <a:lvl9pPr lvl="8" rtl="0">
              <a:spcBef>
                <a:spcPts val="0"/>
              </a:spcBef>
              <a:spcAft>
                <a:spcPts val="0"/>
              </a:spcAft>
              <a:buNone/>
              <a:defRPr sz="2667"/>
            </a:lvl9pPr>
          </a:lstStyle>
          <a:p>
            <a:endParaRPr/>
          </a:p>
        </p:txBody>
      </p:sp>
      <p:sp>
        <p:nvSpPr>
          <p:cNvPr id="160" name="Google Shape;160;p21"/>
          <p:cNvSpPr txBox="1">
            <a:spLocks noGrp="1"/>
          </p:cNvSpPr>
          <p:nvPr>
            <p:ph type="title"/>
          </p:nvPr>
        </p:nvSpPr>
        <p:spPr>
          <a:xfrm>
            <a:off x="1794400" y="1713292"/>
            <a:ext cx="8603200" cy="2756400"/>
          </a:xfrm>
          <a:prstGeom prst="rect">
            <a:avLst/>
          </a:prstGeom>
        </p:spPr>
        <p:txBody>
          <a:bodyPr spcFirstLastPara="1" wrap="square" lIns="91425" tIns="91425" rIns="91425" bIns="91425" anchor="ctr" anchorCtr="0">
            <a:noAutofit/>
          </a:bodyPr>
          <a:lstStyle>
            <a:lvl1pPr lvl="0" algn="ctr" rtl="0">
              <a:lnSpc>
                <a:spcPct val="115000"/>
              </a:lnSpc>
              <a:spcBef>
                <a:spcPts val="0"/>
              </a:spcBef>
              <a:spcAft>
                <a:spcPts val="0"/>
              </a:spcAft>
              <a:buClr>
                <a:schemeClr val="accent2"/>
              </a:buClr>
              <a:buSzPts val="2400"/>
              <a:buNone/>
              <a:defRPr sz="3867">
                <a:solidFill>
                  <a:schemeClr val="dk2"/>
                </a:solidFill>
              </a:defRPr>
            </a:lvl1pPr>
            <a:lvl2pPr lvl="1" algn="ctr" rtl="0">
              <a:spcBef>
                <a:spcPts val="0"/>
              </a:spcBef>
              <a:spcAft>
                <a:spcPts val="0"/>
              </a:spcAft>
              <a:buClr>
                <a:schemeClr val="accent2"/>
              </a:buClr>
              <a:buSzPts val="3600"/>
              <a:buNone/>
              <a:defRPr sz="4800">
                <a:solidFill>
                  <a:schemeClr val="accent2"/>
                </a:solidFill>
              </a:defRPr>
            </a:lvl2pPr>
            <a:lvl3pPr lvl="2" algn="ctr" rtl="0">
              <a:spcBef>
                <a:spcPts val="0"/>
              </a:spcBef>
              <a:spcAft>
                <a:spcPts val="0"/>
              </a:spcAft>
              <a:buClr>
                <a:schemeClr val="accent2"/>
              </a:buClr>
              <a:buSzPts val="3600"/>
              <a:buNone/>
              <a:defRPr sz="4800">
                <a:solidFill>
                  <a:schemeClr val="accent2"/>
                </a:solidFill>
              </a:defRPr>
            </a:lvl3pPr>
            <a:lvl4pPr lvl="3" algn="ctr" rtl="0">
              <a:spcBef>
                <a:spcPts val="0"/>
              </a:spcBef>
              <a:spcAft>
                <a:spcPts val="0"/>
              </a:spcAft>
              <a:buClr>
                <a:schemeClr val="accent2"/>
              </a:buClr>
              <a:buSzPts val="3600"/>
              <a:buNone/>
              <a:defRPr sz="4800">
                <a:solidFill>
                  <a:schemeClr val="accent2"/>
                </a:solidFill>
              </a:defRPr>
            </a:lvl4pPr>
            <a:lvl5pPr lvl="4" algn="ctr" rtl="0">
              <a:spcBef>
                <a:spcPts val="0"/>
              </a:spcBef>
              <a:spcAft>
                <a:spcPts val="0"/>
              </a:spcAft>
              <a:buClr>
                <a:schemeClr val="accent2"/>
              </a:buClr>
              <a:buSzPts val="3600"/>
              <a:buNone/>
              <a:defRPr sz="4800">
                <a:solidFill>
                  <a:schemeClr val="accent2"/>
                </a:solidFill>
              </a:defRPr>
            </a:lvl5pPr>
            <a:lvl6pPr lvl="5" algn="ctr" rtl="0">
              <a:spcBef>
                <a:spcPts val="0"/>
              </a:spcBef>
              <a:spcAft>
                <a:spcPts val="0"/>
              </a:spcAft>
              <a:buClr>
                <a:schemeClr val="accent2"/>
              </a:buClr>
              <a:buSzPts val="3600"/>
              <a:buNone/>
              <a:defRPr sz="4800">
                <a:solidFill>
                  <a:schemeClr val="accent2"/>
                </a:solidFill>
              </a:defRPr>
            </a:lvl6pPr>
            <a:lvl7pPr lvl="6" algn="ctr" rtl="0">
              <a:spcBef>
                <a:spcPts val="0"/>
              </a:spcBef>
              <a:spcAft>
                <a:spcPts val="0"/>
              </a:spcAft>
              <a:buClr>
                <a:schemeClr val="accent2"/>
              </a:buClr>
              <a:buSzPts val="3600"/>
              <a:buNone/>
              <a:defRPr sz="4800">
                <a:solidFill>
                  <a:schemeClr val="accent2"/>
                </a:solidFill>
              </a:defRPr>
            </a:lvl7pPr>
            <a:lvl8pPr lvl="7" algn="ctr" rtl="0">
              <a:spcBef>
                <a:spcPts val="0"/>
              </a:spcBef>
              <a:spcAft>
                <a:spcPts val="0"/>
              </a:spcAft>
              <a:buClr>
                <a:schemeClr val="accent2"/>
              </a:buClr>
              <a:buSzPts val="3600"/>
              <a:buNone/>
              <a:defRPr sz="4800">
                <a:solidFill>
                  <a:schemeClr val="accent2"/>
                </a:solidFill>
              </a:defRPr>
            </a:lvl8pPr>
            <a:lvl9pPr lvl="8" algn="ctr" rtl="0">
              <a:spcBef>
                <a:spcPts val="0"/>
              </a:spcBef>
              <a:spcAft>
                <a:spcPts val="0"/>
              </a:spcAft>
              <a:buClr>
                <a:schemeClr val="accent2"/>
              </a:buClr>
              <a:buSzPts val="3600"/>
              <a:buNone/>
              <a:defRPr sz="4800">
                <a:solidFill>
                  <a:schemeClr val="accent2"/>
                </a:solidFill>
              </a:defRPr>
            </a:lvl9pPr>
          </a:lstStyle>
          <a:p>
            <a:endParaRPr/>
          </a:p>
        </p:txBody>
      </p:sp>
      <p:sp>
        <p:nvSpPr>
          <p:cNvPr id="161" name="Google Shape;161;p21"/>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6062337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ackground">
  <p:cSld name="Background">
    <p:bg>
      <p:bgPr>
        <a:solidFill>
          <a:schemeClr val="lt2"/>
        </a:solidFill>
        <a:effectLst/>
      </p:bgPr>
    </p:bg>
    <p:spTree>
      <p:nvGrpSpPr>
        <p:cNvPr id="1" name="Shape 162"/>
        <p:cNvGrpSpPr/>
        <p:nvPr/>
      </p:nvGrpSpPr>
      <p:grpSpPr>
        <a:xfrm>
          <a:off x="0" y="0"/>
          <a:ext cx="0" cy="0"/>
          <a:chOff x="0" y="0"/>
          <a:chExt cx="0" cy="0"/>
        </a:xfrm>
      </p:grpSpPr>
      <p:pic>
        <p:nvPicPr>
          <p:cNvPr id="163" name="Google Shape;163;p22"/>
          <p:cNvPicPr preferRelativeResize="0"/>
          <p:nvPr/>
        </p:nvPicPr>
        <p:blipFill>
          <a:blip r:embed="rId2">
            <a:alphaModFix amt="75000"/>
          </a:blip>
          <a:stretch>
            <a:fillRect/>
          </a:stretch>
        </p:blipFill>
        <p:spPr>
          <a:xfrm>
            <a:off x="0" y="2025650"/>
            <a:ext cx="2747267" cy="2645701"/>
          </a:xfrm>
          <a:prstGeom prst="rect">
            <a:avLst/>
          </a:prstGeom>
          <a:noFill/>
          <a:ln>
            <a:noFill/>
          </a:ln>
        </p:spPr>
      </p:pic>
      <p:pic>
        <p:nvPicPr>
          <p:cNvPr id="164" name="Google Shape;164;p22"/>
          <p:cNvPicPr preferRelativeResize="0"/>
          <p:nvPr/>
        </p:nvPicPr>
        <p:blipFill>
          <a:blip r:embed="rId2">
            <a:alphaModFix amt="75000"/>
          </a:blip>
          <a:stretch>
            <a:fillRect/>
          </a:stretch>
        </p:blipFill>
        <p:spPr>
          <a:xfrm rot="10800000">
            <a:off x="9444733" y="2186649"/>
            <a:ext cx="2747267" cy="2645701"/>
          </a:xfrm>
          <a:prstGeom prst="rect">
            <a:avLst/>
          </a:prstGeom>
          <a:noFill/>
          <a:ln>
            <a:noFill/>
          </a:ln>
        </p:spPr>
      </p:pic>
      <p:sp>
        <p:nvSpPr>
          <p:cNvPr id="165" name="Google Shape;165;p22"/>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7481361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Background 1">
  <p:cSld name="Background 1">
    <p:bg>
      <p:bgPr>
        <a:solidFill>
          <a:schemeClr val="lt2"/>
        </a:solidFill>
        <a:effectLst/>
      </p:bgPr>
    </p:bg>
    <p:spTree>
      <p:nvGrpSpPr>
        <p:cNvPr id="1" name="Shape 166"/>
        <p:cNvGrpSpPr/>
        <p:nvPr/>
      </p:nvGrpSpPr>
      <p:grpSpPr>
        <a:xfrm>
          <a:off x="0" y="0"/>
          <a:ext cx="0" cy="0"/>
          <a:chOff x="0" y="0"/>
          <a:chExt cx="0" cy="0"/>
        </a:xfrm>
      </p:grpSpPr>
      <p:sp>
        <p:nvSpPr>
          <p:cNvPr id="167" name="Google Shape;167;p23"/>
          <p:cNvSpPr/>
          <p:nvPr/>
        </p:nvSpPr>
        <p:spPr>
          <a:xfrm flipH="1">
            <a:off x="302647" y="275920"/>
            <a:ext cx="11586708" cy="6306160"/>
          </a:xfrm>
          <a:custGeom>
            <a:avLst/>
            <a:gdLst/>
            <a:ahLst/>
            <a:cxnLst/>
            <a:rect l="l" t="t" r="r" b="b"/>
            <a:pathLst>
              <a:path w="284476" h="182031" fill="none" extrusionOk="0">
                <a:moveTo>
                  <a:pt x="284476" y="174380"/>
                </a:moveTo>
                <a:lnTo>
                  <a:pt x="284476" y="7619"/>
                </a:lnTo>
                <a:cubicBezTo>
                  <a:pt x="280258" y="7619"/>
                  <a:pt x="276824" y="4219"/>
                  <a:pt x="276824" y="1"/>
                </a:cubicBezTo>
                <a:lnTo>
                  <a:pt x="7620" y="1"/>
                </a:lnTo>
                <a:cubicBezTo>
                  <a:pt x="7620" y="4219"/>
                  <a:pt x="4219" y="7619"/>
                  <a:pt x="1" y="7619"/>
                </a:cubicBezTo>
                <a:lnTo>
                  <a:pt x="1" y="174380"/>
                </a:lnTo>
                <a:cubicBezTo>
                  <a:pt x="4219" y="174380"/>
                  <a:pt x="7620" y="177780"/>
                  <a:pt x="7620" y="182031"/>
                </a:cubicBezTo>
                <a:lnTo>
                  <a:pt x="276824" y="182031"/>
                </a:lnTo>
                <a:cubicBezTo>
                  <a:pt x="276824" y="177780"/>
                  <a:pt x="280258" y="174380"/>
                  <a:pt x="284476" y="174380"/>
                </a:cubicBezTo>
                <a:close/>
              </a:path>
            </a:pathLst>
          </a:custGeom>
          <a:noFill/>
          <a:ln w="26975" cap="rnd" cmpd="sng">
            <a:solidFill>
              <a:schemeClr val="accent2"/>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pic>
        <p:nvPicPr>
          <p:cNvPr id="168" name="Google Shape;168;p23"/>
          <p:cNvPicPr preferRelativeResize="0"/>
          <p:nvPr/>
        </p:nvPicPr>
        <p:blipFill>
          <a:blip r:embed="rId2">
            <a:alphaModFix amt="55000"/>
          </a:blip>
          <a:stretch>
            <a:fillRect/>
          </a:stretch>
        </p:blipFill>
        <p:spPr>
          <a:xfrm>
            <a:off x="2946401" y="0"/>
            <a:ext cx="2806700" cy="2896435"/>
          </a:xfrm>
          <a:prstGeom prst="rect">
            <a:avLst/>
          </a:prstGeom>
          <a:noFill/>
          <a:ln>
            <a:noFill/>
          </a:ln>
        </p:spPr>
      </p:pic>
      <p:pic>
        <p:nvPicPr>
          <p:cNvPr id="169" name="Google Shape;169;p23"/>
          <p:cNvPicPr preferRelativeResize="0"/>
          <p:nvPr/>
        </p:nvPicPr>
        <p:blipFill>
          <a:blip r:embed="rId2">
            <a:alphaModFix amt="55000"/>
          </a:blip>
          <a:stretch>
            <a:fillRect/>
          </a:stretch>
        </p:blipFill>
        <p:spPr>
          <a:xfrm rot="10800000" flipH="1">
            <a:off x="6438901" y="3961567"/>
            <a:ext cx="2806700" cy="2896435"/>
          </a:xfrm>
          <a:prstGeom prst="rect">
            <a:avLst/>
          </a:prstGeom>
          <a:noFill/>
          <a:ln>
            <a:noFill/>
          </a:ln>
        </p:spPr>
      </p:pic>
    </p:spTree>
    <p:extLst>
      <p:ext uri="{BB962C8B-B14F-4D97-AF65-F5344CB8AC3E}">
        <p14:creationId xmlns:p14="http://schemas.microsoft.com/office/powerpoint/2010/main" val="325970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13795" y="1732449"/>
            <a:ext cx="5060497" cy="4058750"/>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02892" y="1732449"/>
            <a:ext cx="5064665" cy="4058751"/>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2DB0C44-5B28-495E-A020-6785C9410D38}" type="datetimeFigureOut">
              <a:rPr lang="en-US" smtClean="0"/>
              <a:t>8/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7417230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43088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1/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347633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1/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361024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Century Gothic"/>
                <a:cs typeface="Century Gothic"/>
              </a:defRPr>
            </a:lvl1pPr>
          </a:lstStyle>
          <a:p>
            <a:endParaRPr/>
          </a:p>
        </p:txBody>
      </p:sp>
      <p:sp>
        <p:nvSpPr>
          <p:cNvPr id="3" name="Holder 3"/>
          <p:cNvSpPr>
            <a:spLocks noGrp="1"/>
          </p:cNvSpPr>
          <p:nvPr>
            <p:ph sz="half" idx="2"/>
          </p:nvPr>
        </p:nvSpPr>
        <p:spPr>
          <a:xfrm>
            <a:off x="2191747" y="2668789"/>
            <a:ext cx="2545927" cy="246221"/>
          </a:xfrm>
          <a:prstGeom prst="rect">
            <a:avLst/>
          </a:prstGeom>
        </p:spPr>
        <p:txBody>
          <a:bodyPr wrap="square" lIns="0" tIns="0" rIns="0" bIns="0">
            <a:spAutoFit/>
          </a:bodyPr>
          <a:lstStyle>
            <a:lvl1pPr>
              <a:defRPr sz="1600" b="0" i="0">
                <a:solidFill>
                  <a:schemeClr val="tx1"/>
                </a:solidFill>
                <a:latin typeface="Century Gothic"/>
                <a:cs typeface="Century Gothic"/>
              </a:defRPr>
            </a:lvl1pPr>
          </a:lstStyle>
          <a:p>
            <a:endParaRPr/>
          </a:p>
        </p:txBody>
      </p:sp>
      <p:sp>
        <p:nvSpPr>
          <p:cNvPr id="4" name="Holder 4"/>
          <p:cNvSpPr>
            <a:spLocks noGrp="1"/>
          </p:cNvSpPr>
          <p:nvPr>
            <p:ph sz="half" idx="3"/>
          </p:nvPr>
        </p:nvSpPr>
        <p:spPr>
          <a:xfrm>
            <a:off x="6272784" y="1616203"/>
            <a:ext cx="36576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1/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563336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tx1"/>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1/2021</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431190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1/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499663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89072" cy="414876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8485" y="1734506"/>
            <a:ext cx="5089072" cy="4148769"/>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005872" y="1835254"/>
            <a:ext cx="4876344" cy="54488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05872" y="2380137"/>
            <a:ext cx="4876344"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94967" y="1835254"/>
            <a:ext cx="4895330" cy="544883"/>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94967" y="2380137"/>
            <a:ext cx="4895330" cy="3411063"/>
          </a:xfrm>
        </p:spPr>
        <p:txBody>
          <a:bodyPr anchor="t">
            <a:normAutofit/>
          </a:bodyPr>
          <a:lstStyle>
            <a:lvl1pPr>
              <a:defRPr sz="18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2DB0C44-5B28-495E-A020-6785C9410D38}" type="datetimeFigureOut">
              <a:rPr lang="en-US" smtClean="0"/>
              <a:t>8/1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146111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2DB0C44-5B28-495E-A020-6785C9410D38}" type="datetimeFigureOut">
              <a:rPr lang="en-US" smtClean="0"/>
              <a:t>8/1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735771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DB0C44-5B28-495E-A020-6785C9410D38}" type="datetimeFigureOut">
              <a:rPr lang="en-US" smtClean="0"/>
              <a:t>8/1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6409695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400" b="0"/>
            </a:lvl1pPr>
          </a:lstStyle>
          <a:p>
            <a:r>
              <a:rPr lang="en-US"/>
              <a:t>Click to edit Master title style</a:t>
            </a:r>
            <a:endParaRPr lang="en-US" dirty="0"/>
          </a:p>
        </p:txBody>
      </p:sp>
      <p:sp>
        <p:nvSpPr>
          <p:cNvPr id="3" name="Content Placeholder 2"/>
          <p:cNvSpPr>
            <a:spLocks noGrp="1"/>
          </p:cNvSpPr>
          <p:nvPr>
            <p:ph idx="1"/>
          </p:nvPr>
        </p:nvSpPr>
        <p:spPr>
          <a:xfrm>
            <a:off x="4855633" y="609600"/>
            <a:ext cx="6411924" cy="51816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13795" y="2431518"/>
            <a:ext cx="3706889" cy="3359681"/>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30917861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609923"/>
            <a:ext cx="5934949" cy="1829338"/>
          </a:xfrm>
        </p:spPr>
        <p:txBody>
          <a:bodyPr anchor="b">
            <a:noAutofit/>
          </a:bodyPr>
          <a:lstStyle>
            <a:lvl1pPr algn="ct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913795" y="2439261"/>
            <a:ext cx="5934949" cy="337613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2DB0C44-5B28-495E-A020-6785C9410D38}" type="datetimeFigureOut">
              <a:rPr lang="en-US" smtClean="0"/>
              <a:t>8/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1856C2-6CA8-4989-BEB2-F510FB5AE03E}" type="slidenum">
              <a:rPr lang="en-US" smtClean="0"/>
              <a:t>‹#›</a:t>
            </a:fld>
            <a:endParaRPr lang="en-US"/>
          </a:p>
        </p:txBody>
      </p:sp>
    </p:spTree>
    <p:extLst>
      <p:ext uri="{BB962C8B-B14F-4D97-AF65-F5344CB8AC3E}">
        <p14:creationId xmlns:p14="http://schemas.microsoft.com/office/powerpoint/2010/main" val="11241679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heme" Target="../theme/theme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3.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13795" y="1732449"/>
            <a:ext cx="10353762" cy="4058751"/>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72DB0C44-5B28-495E-A020-6785C9410D38}" type="datetimeFigureOut">
              <a:rPr lang="en-US" smtClean="0"/>
              <a:t>8/11/2021</a:t>
            </a:fld>
            <a:endParaRPr lang="en-US"/>
          </a:p>
        </p:txBody>
      </p:sp>
      <p:sp>
        <p:nvSpPr>
          <p:cNvPr id="5" name="Footer Placeholder 4"/>
          <p:cNvSpPr>
            <a:spLocks noGrp="1"/>
          </p:cNvSpPr>
          <p:nvPr>
            <p:ph type="ftr" sz="quarter" idx="3"/>
          </p:nvPr>
        </p:nvSpPr>
        <p:spPr>
          <a:xfrm>
            <a:off x="913795" y="5883275"/>
            <a:ext cx="6672865" cy="365125"/>
          </a:xfrm>
          <a:prstGeom prst="rect">
            <a:avLst/>
          </a:prstGeom>
        </p:spPr>
        <p:txBody>
          <a:bodyPr vert="horz" lIns="91440" tIns="45720" rIns="91440" bIns="45720" rtlCol="0" anchor="ctr"/>
          <a:lstStyle>
            <a:lvl1pPr algn="l">
              <a:defRPr sz="1000">
                <a:solidFill>
                  <a:schemeClr val="tx1">
                    <a:lumMod val="95000"/>
                  </a:schemeClr>
                </a:solidFill>
                <a:effectLst>
                  <a:outerShdw blurRad="50800" dist="38100" dir="2700000" algn="tl" rotWithShape="0">
                    <a:schemeClr val="bg1">
                      <a:alpha val="43000"/>
                    </a:schemeClr>
                  </a:outerShdw>
                </a:effectLst>
              </a:defRPr>
            </a:lvl1pPr>
          </a:lstStyle>
          <a:p>
            <a:endParaRPr lang="en-US"/>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141856C2-6CA8-4989-BEB2-F510FB5AE03E}" type="slidenum">
              <a:rPr lang="en-US" smtClean="0"/>
              <a:t>‹#›</a:t>
            </a:fld>
            <a:endParaRPr lang="en-US"/>
          </a:p>
        </p:txBody>
      </p:sp>
    </p:spTree>
    <p:extLst>
      <p:ext uri="{BB962C8B-B14F-4D97-AF65-F5344CB8AC3E}">
        <p14:creationId xmlns:p14="http://schemas.microsoft.com/office/powerpoint/2010/main" val="360134931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2"/>
              </a:buClr>
              <a:buSzPts val="2800"/>
              <a:buFont typeface="Libre Baskerville"/>
              <a:buNone/>
              <a:defRPr sz="2800" b="1">
                <a:solidFill>
                  <a:schemeClr val="dk2"/>
                </a:solidFill>
                <a:latin typeface="Libre Baskerville"/>
                <a:ea typeface="Libre Baskerville"/>
                <a:cs typeface="Libre Baskerville"/>
                <a:sym typeface="Libre Baskerville"/>
              </a:defRPr>
            </a:lvl1pPr>
            <a:lvl2pPr lvl="1">
              <a:spcBef>
                <a:spcPts val="0"/>
              </a:spcBef>
              <a:spcAft>
                <a:spcPts val="0"/>
              </a:spcAft>
              <a:buClr>
                <a:schemeClr val="dk2"/>
              </a:buClr>
              <a:buSzPts val="2800"/>
              <a:buNone/>
              <a:defRPr sz="2800">
                <a:solidFill>
                  <a:schemeClr val="dk2"/>
                </a:solidFill>
              </a:defRPr>
            </a:lvl2pPr>
            <a:lvl3pPr lvl="2">
              <a:spcBef>
                <a:spcPts val="0"/>
              </a:spcBef>
              <a:spcAft>
                <a:spcPts val="0"/>
              </a:spcAft>
              <a:buClr>
                <a:schemeClr val="dk2"/>
              </a:buClr>
              <a:buSzPts val="2800"/>
              <a:buNone/>
              <a:defRPr sz="2800">
                <a:solidFill>
                  <a:schemeClr val="dk2"/>
                </a:solidFill>
              </a:defRPr>
            </a:lvl3pPr>
            <a:lvl4pPr lvl="3">
              <a:spcBef>
                <a:spcPts val="0"/>
              </a:spcBef>
              <a:spcAft>
                <a:spcPts val="0"/>
              </a:spcAft>
              <a:buClr>
                <a:schemeClr val="dk2"/>
              </a:buClr>
              <a:buSzPts val="2800"/>
              <a:buNone/>
              <a:defRPr sz="2800">
                <a:solidFill>
                  <a:schemeClr val="dk2"/>
                </a:solidFill>
              </a:defRPr>
            </a:lvl4pPr>
            <a:lvl5pPr lvl="4">
              <a:spcBef>
                <a:spcPts val="0"/>
              </a:spcBef>
              <a:spcAft>
                <a:spcPts val="0"/>
              </a:spcAft>
              <a:buClr>
                <a:schemeClr val="dk2"/>
              </a:buClr>
              <a:buSzPts val="2800"/>
              <a:buNone/>
              <a:defRPr sz="2800">
                <a:solidFill>
                  <a:schemeClr val="dk2"/>
                </a:solidFill>
              </a:defRPr>
            </a:lvl5pPr>
            <a:lvl6pPr lvl="5">
              <a:spcBef>
                <a:spcPts val="0"/>
              </a:spcBef>
              <a:spcAft>
                <a:spcPts val="0"/>
              </a:spcAft>
              <a:buClr>
                <a:schemeClr val="dk2"/>
              </a:buClr>
              <a:buSzPts val="2800"/>
              <a:buNone/>
              <a:defRPr sz="2800">
                <a:solidFill>
                  <a:schemeClr val="dk2"/>
                </a:solidFill>
              </a:defRPr>
            </a:lvl6pPr>
            <a:lvl7pPr lvl="6">
              <a:spcBef>
                <a:spcPts val="0"/>
              </a:spcBef>
              <a:spcAft>
                <a:spcPts val="0"/>
              </a:spcAft>
              <a:buClr>
                <a:schemeClr val="dk2"/>
              </a:buClr>
              <a:buSzPts val="2800"/>
              <a:buNone/>
              <a:defRPr sz="2800">
                <a:solidFill>
                  <a:schemeClr val="dk2"/>
                </a:solidFill>
              </a:defRPr>
            </a:lvl7pPr>
            <a:lvl8pPr lvl="7">
              <a:spcBef>
                <a:spcPts val="0"/>
              </a:spcBef>
              <a:spcAft>
                <a:spcPts val="0"/>
              </a:spcAft>
              <a:buClr>
                <a:schemeClr val="dk2"/>
              </a:buClr>
              <a:buSzPts val="2800"/>
              <a:buNone/>
              <a:defRPr sz="2800">
                <a:solidFill>
                  <a:schemeClr val="dk2"/>
                </a:solidFill>
              </a:defRPr>
            </a:lvl8pPr>
            <a:lvl9pPr lvl="8">
              <a:spcBef>
                <a:spcPts val="0"/>
              </a:spcBef>
              <a:spcAft>
                <a:spcPts val="0"/>
              </a:spcAft>
              <a:buClr>
                <a:schemeClr val="dk2"/>
              </a:buClr>
              <a:buSzPts val="2800"/>
              <a:buNone/>
              <a:defRPr sz="2800">
                <a:solidFill>
                  <a:schemeClr val="dk2"/>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Font typeface="Roboto"/>
              <a:buChar char="●"/>
              <a:defRPr sz="1800">
                <a:solidFill>
                  <a:schemeClr val="dk2"/>
                </a:solidFill>
                <a:latin typeface="Roboto"/>
                <a:ea typeface="Roboto"/>
                <a:cs typeface="Roboto"/>
                <a:sym typeface="Roboto"/>
              </a:defRPr>
            </a:lvl1pPr>
            <a:lvl2pPr marL="914400" lvl="1"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2pPr>
            <a:lvl3pPr marL="1371600" lvl="2"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3pPr>
            <a:lvl4pPr marL="1828800" lvl="3"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4pPr>
            <a:lvl5pPr marL="2286000" lvl="4"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5pPr>
            <a:lvl6pPr marL="2743200" lvl="5"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6pPr>
            <a:lvl7pPr marL="3200400" lvl="6"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7pPr>
            <a:lvl8pPr marL="3657600" lvl="7" indent="-342900">
              <a:lnSpc>
                <a:spcPct val="115000"/>
              </a:lnSpc>
              <a:spcBef>
                <a:spcPts val="1600"/>
              </a:spcBef>
              <a:spcAft>
                <a:spcPts val="0"/>
              </a:spcAft>
              <a:buClr>
                <a:schemeClr val="dk2"/>
              </a:buClr>
              <a:buSzPts val="1800"/>
              <a:buFont typeface="Roboto"/>
              <a:buChar char="○"/>
              <a:defRPr sz="1800">
                <a:solidFill>
                  <a:schemeClr val="dk2"/>
                </a:solidFill>
                <a:latin typeface="Roboto"/>
                <a:ea typeface="Roboto"/>
                <a:cs typeface="Roboto"/>
                <a:sym typeface="Roboto"/>
              </a:defRPr>
            </a:lvl8pPr>
            <a:lvl9pPr marL="4114800" lvl="8" indent="-342900">
              <a:lnSpc>
                <a:spcPct val="115000"/>
              </a:lnSpc>
              <a:spcBef>
                <a:spcPts val="1600"/>
              </a:spcBef>
              <a:spcAft>
                <a:spcPts val="1600"/>
              </a:spcAft>
              <a:buClr>
                <a:schemeClr val="dk2"/>
              </a:buClr>
              <a:buSzPts val="1800"/>
              <a:buFont typeface="Roboto"/>
              <a:buChar char="■"/>
              <a:defRPr sz="1800">
                <a:solidFill>
                  <a:schemeClr val="dk2"/>
                </a:solidFill>
                <a:latin typeface="Roboto"/>
                <a:ea typeface="Roboto"/>
                <a:cs typeface="Roboto"/>
                <a:sym typeface="Roboto"/>
              </a:defRPr>
            </a:lvl9pPr>
          </a:lstStyle>
          <a:p>
            <a:endParaRPr/>
          </a:p>
        </p:txBody>
      </p:sp>
    </p:spTree>
    <p:extLst>
      <p:ext uri="{BB962C8B-B14F-4D97-AF65-F5344CB8AC3E}">
        <p14:creationId xmlns:p14="http://schemas.microsoft.com/office/powerpoint/2010/main" val="1871343848"/>
      </p:ext>
    </p:extLst>
  </p:cSld>
  <p:clrMap bg1="lt1" tx1="dk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294440" y="460025"/>
            <a:ext cx="3603121" cy="430887"/>
          </a:xfrm>
          <a:prstGeom prst="rect">
            <a:avLst/>
          </a:prstGeom>
        </p:spPr>
        <p:txBody>
          <a:bodyPr wrap="square" lIns="0" tIns="0" rIns="0" bIns="0">
            <a:spAutoFit/>
          </a:bodyPr>
          <a:lstStyle>
            <a:lvl1pPr>
              <a:defRPr sz="2800" b="0" i="0">
                <a:solidFill>
                  <a:schemeClr val="tx1"/>
                </a:solidFill>
                <a:latin typeface="Century Gothic"/>
                <a:cs typeface="Century Gothic"/>
              </a:defRPr>
            </a:lvl1pPr>
          </a:lstStyle>
          <a:p>
            <a:endParaRPr/>
          </a:p>
        </p:txBody>
      </p:sp>
      <p:sp>
        <p:nvSpPr>
          <p:cNvPr id="3" name="Holder 3"/>
          <p:cNvSpPr>
            <a:spLocks noGrp="1"/>
          </p:cNvSpPr>
          <p:nvPr>
            <p:ph type="body" idx="1"/>
          </p:nvPr>
        </p:nvSpPr>
        <p:spPr>
          <a:xfrm>
            <a:off x="1250567" y="1608524"/>
            <a:ext cx="9690864"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661989" y="6543448"/>
            <a:ext cx="5008033" cy="92333"/>
          </a:xfrm>
          <a:prstGeom prst="rect">
            <a:avLst/>
          </a:prstGeom>
        </p:spPr>
        <p:txBody>
          <a:bodyPr wrap="square" lIns="0" tIns="0" rIns="0" bIns="0">
            <a:spAutoFit/>
          </a:bodyPr>
          <a:lstStyle>
            <a:lvl1pPr>
              <a:defRPr sz="600" b="1" i="0">
                <a:solidFill>
                  <a:schemeClr val="tx1"/>
                </a:solidFill>
                <a:latin typeface="Century Gothic"/>
                <a:cs typeface="Century Gothic"/>
              </a:defRPr>
            </a:lvl1pPr>
          </a:lstStyle>
          <a:p>
            <a:pPr marL="12700">
              <a:spcBef>
                <a:spcPts val="95"/>
              </a:spcBef>
            </a:pPr>
            <a:r>
              <a:rPr lang="pt-BR" spc="30" smtClean="0"/>
              <a:t>J</a:t>
            </a:r>
            <a:r>
              <a:rPr lang="pt-BR" spc="-5" smtClean="0"/>
              <a:t> </a:t>
            </a:r>
            <a:r>
              <a:rPr lang="pt-BR" spc="30" smtClean="0"/>
              <a:t>O</a:t>
            </a:r>
            <a:r>
              <a:rPr lang="pt-BR" smtClean="0"/>
              <a:t> </a:t>
            </a:r>
            <a:r>
              <a:rPr lang="pt-BR" spc="30" smtClean="0"/>
              <a:t>H</a:t>
            </a:r>
            <a:r>
              <a:rPr lang="pt-BR" smtClean="0"/>
              <a:t> N  </a:t>
            </a:r>
            <a:r>
              <a:rPr lang="pt-BR" spc="65" smtClean="0"/>
              <a:t> </a:t>
            </a:r>
            <a:r>
              <a:rPr lang="pt-BR" spc="30" smtClean="0"/>
              <a:t>W</a:t>
            </a:r>
            <a:r>
              <a:rPr lang="pt-BR" spc="-5" smtClean="0"/>
              <a:t> </a:t>
            </a:r>
            <a:r>
              <a:rPr lang="pt-BR" smtClean="0"/>
              <a:t>.  </a:t>
            </a:r>
            <a:r>
              <a:rPr lang="pt-BR" spc="45" smtClean="0"/>
              <a:t> </a:t>
            </a:r>
            <a:r>
              <a:rPr lang="pt-BR" spc="30" smtClean="0"/>
              <a:t>G</a:t>
            </a:r>
            <a:r>
              <a:rPr lang="pt-BR" smtClean="0"/>
              <a:t> </a:t>
            </a:r>
            <a:r>
              <a:rPr lang="pt-BR" spc="30" smtClean="0"/>
              <a:t>A</a:t>
            </a:r>
            <a:r>
              <a:rPr lang="pt-BR" smtClean="0"/>
              <a:t> </a:t>
            </a:r>
            <a:r>
              <a:rPr lang="pt-BR" spc="30" smtClean="0"/>
              <a:t>R</a:t>
            </a:r>
            <a:r>
              <a:rPr lang="pt-BR" spc="-5" smtClean="0"/>
              <a:t> </a:t>
            </a:r>
            <a:r>
              <a:rPr lang="pt-BR" spc="30" smtClean="0"/>
              <a:t>D</a:t>
            </a:r>
            <a:r>
              <a:rPr lang="pt-BR" smtClean="0"/>
              <a:t> </a:t>
            </a:r>
            <a:r>
              <a:rPr lang="pt-BR" spc="30" smtClean="0"/>
              <a:t>N</a:t>
            </a:r>
            <a:r>
              <a:rPr lang="pt-BR" smtClean="0"/>
              <a:t> </a:t>
            </a:r>
            <a:r>
              <a:rPr lang="pt-BR" spc="30" smtClean="0"/>
              <a:t>E</a:t>
            </a:r>
            <a:r>
              <a:rPr lang="pt-BR" spc="-5" smtClean="0"/>
              <a:t> </a:t>
            </a:r>
            <a:r>
              <a:rPr lang="pt-BR" smtClean="0"/>
              <a:t>R  </a:t>
            </a:r>
            <a:r>
              <a:rPr lang="pt-BR" spc="80" smtClean="0"/>
              <a:t> </a:t>
            </a:r>
            <a:r>
              <a:rPr lang="pt-BR" spc="30" smtClean="0"/>
              <a:t>C</a:t>
            </a:r>
            <a:r>
              <a:rPr lang="pt-BR" spc="-5" smtClean="0"/>
              <a:t> </a:t>
            </a:r>
            <a:r>
              <a:rPr lang="pt-BR" spc="30" smtClean="0"/>
              <a:t>E</a:t>
            </a:r>
            <a:r>
              <a:rPr lang="pt-BR" smtClean="0"/>
              <a:t> </a:t>
            </a:r>
            <a:r>
              <a:rPr lang="pt-BR" spc="30" smtClean="0"/>
              <a:t>N</a:t>
            </a:r>
            <a:r>
              <a:rPr lang="pt-BR" smtClean="0"/>
              <a:t> </a:t>
            </a:r>
            <a:r>
              <a:rPr lang="pt-BR" spc="30" smtClean="0"/>
              <a:t>T</a:t>
            </a:r>
            <a:r>
              <a:rPr lang="pt-BR" smtClean="0"/>
              <a:t> </a:t>
            </a:r>
            <a:r>
              <a:rPr lang="pt-BR" spc="30" smtClean="0"/>
              <a:t>E</a:t>
            </a:r>
            <a:r>
              <a:rPr lang="pt-BR" spc="-5" smtClean="0"/>
              <a:t> </a:t>
            </a:r>
            <a:r>
              <a:rPr lang="pt-BR" smtClean="0"/>
              <a:t>R  </a:t>
            </a:r>
            <a:r>
              <a:rPr lang="pt-BR" spc="65" smtClean="0"/>
              <a:t> </a:t>
            </a:r>
            <a:r>
              <a:rPr lang="pt-BR" spc="30" smtClean="0"/>
              <a:t>F</a:t>
            </a:r>
            <a:r>
              <a:rPr lang="pt-BR" smtClean="0"/>
              <a:t> </a:t>
            </a:r>
            <a:r>
              <a:rPr lang="pt-BR" spc="30" smtClean="0"/>
              <a:t>O</a:t>
            </a:r>
            <a:r>
              <a:rPr lang="pt-BR" smtClean="0"/>
              <a:t> R  </a:t>
            </a:r>
            <a:r>
              <a:rPr lang="pt-BR" spc="55" smtClean="0"/>
              <a:t> </a:t>
            </a:r>
            <a:r>
              <a:rPr lang="pt-BR" spc="30" smtClean="0"/>
              <a:t>Y</a:t>
            </a:r>
            <a:r>
              <a:rPr lang="pt-BR" spc="-5" smtClean="0"/>
              <a:t> </a:t>
            </a:r>
            <a:r>
              <a:rPr lang="pt-BR" spc="30" smtClean="0"/>
              <a:t>O</a:t>
            </a:r>
            <a:r>
              <a:rPr lang="pt-BR" smtClean="0"/>
              <a:t> </a:t>
            </a:r>
            <a:r>
              <a:rPr lang="pt-BR" spc="30" smtClean="0"/>
              <a:t>U</a:t>
            </a:r>
            <a:r>
              <a:rPr lang="pt-BR" smtClean="0"/>
              <a:t> </a:t>
            </a:r>
            <a:r>
              <a:rPr lang="pt-BR" spc="30" smtClean="0"/>
              <a:t>T</a:t>
            </a:r>
            <a:r>
              <a:rPr lang="pt-BR" spc="-5" smtClean="0"/>
              <a:t> </a:t>
            </a:r>
            <a:r>
              <a:rPr lang="pt-BR" smtClean="0"/>
              <a:t>H  </a:t>
            </a:r>
            <a:r>
              <a:rPr lang="pt-BR" spc="65" smtClean="0"/>
              <a:t> </a:t>
            </a:r>
            <a:r>
              <a:rPr lang="pt-BR" spc="30" smtClean="0"/>
              <a:t>A</a:t>
            </a:r>
            <a:r>
              <a:rPr lang="pt-BR" smtClean="0"/>
              <a:t> </a:t>
            </a:r>
            <a:r>
              <a:rPr lang="pt-BR" spc="30" smtClean="0"/>
              <a:t>N</a:t>
            </a:r>
            <a:r>
              <a:rPr lang="pt-BR" smtClean="0"/>
              <a:t> D  </a:t>
            </a:r>
            <a:r>
              <a:rPr lang="pt-BR" spc="70" smtClean="0"/>
              <a:t> </a:t>
            </a:r>
            <a:r>
              <a:rPr lang="pt-BR" spc="30" smtClean="0"/>
              <a:t>T</a:t>
            </a:r>
            <a:r>
              <a:rPr lang="pt-BR" spc="-5" smtClean="0"/>
              <a:t> </a:t>
            </a:r>
            <a:r>
              <a:rPr lang="pt-BR" spc="30" smtClean="0"/>
              <a:t>H</a:t>
            </a:r>
            <a:r>
              <a:rPr lang="pt-BR" smtClean="0"/>
              <a:t> </a:t>
            </a:r>
            <a:r>
              <a:rPr lang="pt-BR" spc="30" smtClean="0"/>
              <a:t>E</a:t>
            </a:r>
            <a:r>
              <a:rPr lang="pt-BR" smtClean="0"/>
              <a:t> </a:t>
            </a:r>
            <a:r>
              <a:rPr lang="pt-BR" spc="30" smtClean="0"/>
              <a:t>I</a:t>
            </a:r>
            <a:r>
              <a:rPr lang="pt-BR" spc="-5" smtClean="0"/>
              <a:t> </a:t>
            </a:r>
            <a:r>
              <a:rPr lang="pt-BR" smtClean="0"/>
              <a:t>R  </a:t>
            </a:r>
            <a:r>
              <a:rPr lang="pt-BR" spc="60" smtClean="0"/>
              <a:t> </a:t>
            </a:r>
            <a:r>
              <a:rPr lang="pt-BR" spc="30" smtClean="0"/>
              <a:t>C</a:t>
            </a:r>
            <a:r>
              <a:rPr lang="pt-BR" smtClean="0"/>
              <a:t> </a:t>
            </a:r>
            <a:r>
              <a:rPr lang="pt-BR" spc="30" smtClean="0"/>
              <a:t>O</a:t>
            </a:r>
            <a:r>
              <a:rPr lang="pt-BR" smtClean="0"/>
              <a:t> </a:t>
            </a:r>
            <a:r>
              <a:rPr lang="pt-BR" spc="30" smtClean="0"/>
              <a:t>M</a:t>
            </a:r>
            <a:r>
              <a:rPr lang="pt-BR" spc="-5" smtClean="0"/>
              <a:t> </a:t>
            </a:r>
            <a:r>
              <a:rPr lang="pt-BR" spc="30" smtClean="0"/>
              <a:t>M</a:t>
            </a:r>
            <a:r>
              <a:rPr lang="pt-BR" smtClean="0"/>
              <a:t> </a:t>
            </a:r>
            <a:r>
              <a:rPr lang="pt-BR" spc="30" smtClean="0"/>
              <a:t>U</a:t>
            </a:r>
            <a:r>
              <a:rPr lang="pt-BR" smtClean="0"/>
              <a:t> </a:t>
            </a:r>
            <a:r>
              <a:rPr lang="pt-BR" spc="30" smtClean="0"/>
              <a:t>N</a:t>
            </a:r>
            <a:r>
              <a:rPr lang="pt-BR" spc="-5" smtClean="0"/>
              <a:t> </a:t>
            </a:r>
            <a:r>
              <a:rPr lang="pt-BR" spc="30" smtClean="0"/>
              <a:t>I</a:t>
            </a:r>
            <a:r>
              <a:rPr lang="pt-BR" smtClean="0"/>
              <a:t> </a:t>
            </a:r>
            <a:r>
              <a:rPr lang="pt-BR" spc="30" smtClean="0"/>
              <a:t>T</a:t>
            </a:r>
            <a:r>
              <a:rPr lang="pt-BR" smtClean="0"/>
              <a:t> </a:t>
            </a:r>
            <a:r>
              <a:rPr lang="pt-BR" spc="30" smtClean="0"/>
              <a:t>I</a:t>
            </a:r>
            <a:r>
              <a:rPr lang="pt-BR" spc="-5" smtClean="0"/>
              <a:t> </a:t>
            </a:r>
            <a:r>
              <a:rPr lang="pt-BR" spc="30" smtClean="0"/>
              <a:t>E</a:t>
            </a:r>
            <a:r>
              <a:rPr lang="pt-BR" smtClean="0"/>
              <a:t> S</a:t>
            </a:r>
            <a:r>
              <a:rPr lang="pt-BR" spc="30" smtClean="0"/>
              <a:t> </a:t>
            </a:r>
            <a:endParaRPr lang="pt-BR" spc="30" dirty="0"/>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11/2021</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490830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chart" Target="../charts/chart3.xml"/><Relationship Id="rId4" Type="http://schemas.openxmlformats.org/officeDocument/2006/relationships/chart" Target="../charts/chart2.xml"/></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chart" Target="../charts/chart4.xml"/><Relationship Id="rId7" Type="http://schemas.openxmlformats.org/officeDocument/2006/relationships/chart" Target="../charts/chart8.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 Id="rId4" Type="http://schemas.openxmlformats.org/officeDocument/2006/relationships/image" Target="../media/image32.jpeg"/></Relationships>
</file>

<file path=ppt/slides/_rels/slide27.xml.rels><?xml version="1.0" encoding="UTF-8" standalone="yes"?>
<Relationships xmlns="http://schemas.openxmlformats.org/package/2006/relationships"><Relationship Id="rId2" Type="http://schemas.openxmlformats.org/officeDocument/2006/relationships/hyperlink" Target="https://smccd.edu/return-to-campus/index.php"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canadacollege.edu/emp/RWC%20NFO%20Needs%20Assessment%20Slides%203.19.21.pdf" TargetMode="External"/><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33.xml.rels><?xml version="1.0" encoding="UTF-8" standalone="yes"?>
<Relationships xmlns="http://schemas.openxmlformats.org/package/2006/relationships"><Relationship Id="rId3" Type="http://schemas.openxmlformats.org/officeDocument/2006/relationships/hyperlink" Target="https://canadacollege.edu/emp/RWC%20NFO%20Needs%20Assessment%20Slides%203.19.21.pdf" TargetMode="External"/><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42.xml"/><Relationship Id="rId5" Type="http://schemas.openxmlformats.org/officeDocument/2006/relationships/hyperlink" Target="https://canadacollege.edu/emp/RWC%20NFO%20Needs%20Assessment%20Slides%203.19.21.pdf" TargetMode="Externa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hyperlink" Target="https://canadacollege.edu/about/mission.php" TargetMode="External"/><Relationship Id="rId13" Type="http://schemas.openxmlformats.org/officeDocument/2006/relationships/hyperlink" Target="https://canadacollege.edu/prie/surveys.php" TargetMode="External"/><Relationship Id="rId3" Type="http://schemas.openxmlformats.org/officeDocument/2006/relationships/hyperlink" Target="https://smccd-my.sharepoint.com/personal/engelk_smccd_edu/Documents/Management%20-%20Cabinet/Leadership%20Retreat%20July%202021/Materials%20for%20Retreat" TargetMode="External"/><Relationship Id="rId7" Type="http://schemas.openxmlformats.org/officeDocument/2006/relationships/hyperlink" Target="https://canadacollege.edu/planningbudgetingcouncil/2021/SEA%20College%20Level%20Brief%20La%20Canada%20College%20Edited%20FINAL.pdf" TargetMode="External"/><Relationship Id="rId12" Type="http://schemas.openxmlformats.org/officeDocument/2006/relationships/hyperlink" Target="https://canadacollege.edu/antiracism/Canada%20College%20Focus%20Group%20Findings%20Spring%202021-final.pdf" TargetMode="External"/><Relationship Id="rId2" Type="http://schemas.openxmlformats.org/officeDocument/2006/relationships/hyperlink" Target="https://canadacollege.edu/emp/Recovery-with-Equity_2021Feb15.pdf" TargetMode="External"/><Relationship Id="rId1" Type="http://schemas.openxmlformats.org/officeDocument/2006/relationships/slideLayout" Target="../slideLayouts/slideLayout5.xml"/><Relationship Id="rId6" Type="http://schemas.openxmlformats.org/officeDocument/2006/relationships/hyperlink" Target="https://www.cccco.edu/About-Us/Chancellors-Office/Divisions/Educational-Services-and-Support/Student-Service/What-we-do/Student-Equity" TargetMode="External"/><Relationship Id="rId11" Type="http://schemas.openxmlformats.org/officeDocument/2006/relationships/hyperlink" Target="https://canadacollege.edu/planningbudgetingcouncil/2021/FULL%20PBC%20PROPOSAL%20-%20Canada%20College%20Antiracism%20Taskforce%204-21-2021.pdf" TargetMode="External"/><Relationship Id="rId5" Type="http://schemas.openxmlformats.org/officeDocument/2006/relationships/hyperlink" Target="https://www.cccco.edu/College-Professionals/Guided-Pathways" TargetMode="External"/><Relationship Id="rId10" Type="http://schemas.openxmlformats.org/officeDocument/2006/relationships/hyperlink" Target="https://canadacollege.edu/aces/SEAP%20Exec%20Summary_Final_6.27.19.pdf" TargetMode="External"/><Relationship Id="rId4" Type="http://schemas.openxmlformats.org/officeDocument/2006/relationships/hyperlink" Target="https://www.cccco.edu/-/media/CCCCO-Website/Reports/CCCCO_DEI_Report.pdf?la=en&amp;hash=69E11E4DAB1DEBA3181E053BEE89E7BC3A709BEE" TargetMode="External"/><Relationship Id="rId9" Type="http://schemas.openxmlformats.org/officeDocument/2006/relationships/hyperlink" Target="https://canadacollege.edu/guidedpathways/" TargetMode="External"/><Relationship Id="rId14" Type="http://schemas.openxmlformats.org/officeDocument/2006/relationships/hyperlink" Target="https://race.usc.edu/wp-content/uploads/2020/07/NACCC-FAQs.pdf"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hyperlink" Target="https://canadacollege.edu/about/mission.php" TargetMode="External"/><Relationship Id="rId13" Type="http://schemas.openxmlformats.org/officeDocument/2006/relationships/hyperlink" Target="https://canadacollege.edu/prie/surveys.php" TargetMode="External"/><Relationship Id="rId3" Type="http://schemas.openxmlformats.org/officeDocument/2006/relationships/hyperlink" Target="https://smccd-my.sharepoint.com/personal/engelk_smccd_edu/Documents/Management%20-%20Cabinet/Leadership%20Retreat%20July%202021/Materials%20for%20Retreat" TargetMode="External"/><Relationship Id="rId7" Type="http://schemas.openxmlformats.org/officeDocument/2006/relationships/hyperlink" Target="https://canadacollege.edu/planningbudgetingcouncil/2021/SEA%20College%20Level%20Brief%20La%20Canada%20College%20Edited%20FINAL.pdf" TargetMode="External"/><Relationship Id="rId12" Type="http://schemas.openxmlformats.org/officeDocument/2006/relationships/hyperlink" Target="https://canadacollege.edu/antiracism/Canada%20College%20Focus%20Group%20Findings%20Spring%202021-final.pdf" TargetMode="External"/><Relationship Id="rId2" Type="http://schemas.openxmlformats.org/officeDocument/2006/relationships/hyperlink" Target="https://canadacollege.edu/emp/Recovery-with-Equity_2021Feb15.pdf" TargetMode="External"/><Relationship Id="rId1" Type="http://schemas.openxmlformats.org/officeDocument/2006/relationships/slideLayout" Target="../slideLayouts/slideLayout5.xml"/><Relationship Id="rId6" Type="http://schemas.openxmlformats.org/officeDocument/2006/relationships/hyperlink" Target="https://www.cccco.edu/About-Us/Chancellors-Office/Divisions/Educational-Services-and-Support/Student-Service/What-we-do/Student-Equity" TargetMode="External"/><Relationship Id="rId11" Type="http://schemas.openxmlformats.org/officeDocument/2006/relationships/hyperlink" Target="https://canadacollege.edu/planningbudgetingcouncil/2021/FULL%20PBC%20PROPOSAL%20-%20Canada%20College%20Antiracism%20Taskforce%204-21-2021.pdf" TargetMode="External"/><Relationship Id="rId5" Type="http://schemas.openxmlformats.org/officeDocument/2006/relationships/hyperlink" Target="https://www.cccco.edu/College-Professionals/Guided-Pathways" TargetMode="External"/><Relationship Id="rId10" Type="http://schemas.openxmlformats.org/officeDocument/2006/relationships/hyperlink" Target="https://canadacollege.edu/aces/SEAP%20Exec%20Summary_Final_6.27.19.pdf" TargetMode="External"/><Relationship Id="rId4" Type="http://schemas.openxmlformats.org/officeDocument/2006/relationships/hyperlink" Target="https://www.cccco.edu/-/media/CCCCO-Website/Reports/CCCCO_DEI_Report.pdf?la=en&amp;hash=69E11E4DAB1DEBA3181E053BEE89E7BC3A709BEE" TargetMode="External"/><Relationship Id="rId9" Type="http://schemas.openxmlformats.org/officeDocument/2006/relationships/hyperlink" Target="https://canadacollege.edu/guidedpathways/" TargetMode="External"/><Relationship Id="rId14" Type="http://schemas.openxmlformats.org/officeDocument/2006/relationships/hyperlink" Target="https://race.usc.edu/wp-content/uploads/2020/07/NACCC-FAQs.pdf"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comments" Target="../comments/comment1.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comments" Target="../comments/comment2.xml"/><Relationship Id="rId2" Type="http://schemas.openxmlformats.org/officeDocument/2006/relationships/notesSlide" Target="../notesSlides/notesSlide3.xml"/><Relationship Id="rId1" Type="http://schemas.openxmlformats.org/officeDocument/2006/relationships/slideLayout" Target="../slideLayouts/slideLayout3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image" Target="../media/image21.jp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2">
            <a:extLst>
              <a:ext uri="{FF2B5EF4-FFF2-40B4-BE49-F238E27FC236}">
                <a16:creationId xmlns:a16="http://schemas.microsoft.com/office/drawing/2014/main" id="{B677782B-7F12-3C49-95CB-4EFF786CC278}"/>
              </a:ext>
            </a:extLst>
          </p:cNvPr>
          <p:cNvSpPr>
            <a:spLocks noGrp="1"/>
          </p:cNvSpPr>
          <p:nvPr>
            <p:ph type="ctrTitle"/>
          </p:nvPr>
        </p:nvSpPr>
        <p:spPr>
          <a:xfrm>
            <a:off x="63773" y="1738865"/>
            <a:ext cx="2976211" cy="3386667"/>
          </a:xfrm>
        </p:spPr>
        <p:txBody>
          <a:bodyPr/>
          <a:lstStyle/>
          <a:p>
            <a:r>
              <a:rPr lang="en-US" sz="4000" dirty="0">
                <a:solidFill>
                  <a:schemeClr val="tx1"/>
                </a:solidFill>
              </a:rPr>
              <a:t>Leadership Retreat</a:t>
            </a:r>
            <a:br>
              <a:rPr lang="en-US" sz="4000" dirty="0">
                <a:solidFill>
                  <a:schemeClr val="tx1"/>
                </a:solidFill>
              </a:rPr>
            </a:br>
            <a:r>
              <a:rPr lang="en-US" sz="4000" dirty="0">
                <a:solidFill>
                  <a:schemeClr val="tx1"/>
                </a:solidFill>
              </a:rPr>
              <a:t/>
            </a:r>
            <a:br>
              <a:rPr lang="en-US" sz="4000" dirty="0">
                <a:solidFill>
                  <a:schemeClr val="tx1"/>
                </a:solidFill>
              </a:rPr>
            </a:br>
            <a:r>
              <a:rPr lang="en-US" sz="2800" dirty="0">
                <a:solidFill>
                  <a:schemeClr val="tx1"/>
                </a:solidFill>
              </a:rPr>
              <a:t>August 11, 2021</a:t>
            </a:r>
          </a:p>
        </p:txBody>
      </p:sp>
      <p:pic>
        <p:nvPicPr>
          <p:cNvPr id="6" name="Picture 2" descr="589BD165-63DC-4EFB-90C8-6954760F8772-L0-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8803" y="22250"/>
            <a:ext cx="9093198" cy="6819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stretch>
            <a:fillRect/>
          </a:stretch>
        </p:blipFill>
        <p:spPr>
          <a:xfrm>
            <a:off x="227904" y="235502"/>
            <a:ext cx="2647950" cy="1190625"/>
          </a:xfrm>
          <a:prstGeom prst="rect">
            <a:avLst/>
          </a:prstGeom>
        </p:spPr>
      </p:pic>
    </p:spTree>
    <p:extLst>
      <p:ext uri="{BB962C8B-B14F-4D97-AF65-F5344CB8AC3E}">
        <p14:creationId xmlns:p14="http://schemas.microsoft.com/office/powerpoint/2010/main" val="13013979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7" name="Google Shape;267;p28"/>
          <p:cNvSpPr txBox="1">
            <a:spLocks noGrp="1"/>
          </p:cNvSpPr>
          <p:nvPr>
            <p:ph type="title" idx="6"/>
          </p:nvPr>
        </p:nvSpPr>
        <p:spPr>
          <a:xfrm>
            <a:off x="952167" y="725433"/>
            <a:ext cx="10287600" cy="487600"/>
          </a:xfrm>
          <a:prstGeom prst="rect">
            <a:avLst/>
          </a:prstGeom>
        </p:spPr>
        <p:txBody>
          <a:bodyPr spcFirstLastPara="1" wrap="square" lIns="121900" tIns="121900" rIns="121900" bIns="121900" anchor="ctr" anchorCtr="0">
            <a:noAutofit/>
          </a:bodyPr>
          <a:lstStyle/>
          <a:p>
            <a:r>
              <a:rPr lang="en"/>
              <a:t>Meet The Team!</a:t>
            </a:r>
            <a:endParaRPr/>
          </a:p>
        </p:txBody>
      </p:sp>
      <p:sp>
        <p:nvSpPr>
          <p:cNvPr id="268" name="Google Shape;268;p28"/>
          <p:cNvSpPr txBox="1"/>
          <p:nvPr/>
        </p:nvSpPr>
        <p:spPr>
          <a:xfrm>
            <a:off x="530767" y="1904368"/>
            <a:ext cx="2388400" cy="1066662"/>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333"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Senator at Large of Concurrent Enrollment and Middle College: Mira Rubio</a:t>
            </a:r>
            <a:endParaRPr kumimoji="0" sz="1333"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endParaRPr>
          </a:p>
        </p:txBody>
      </p:sp>
      <p:sp>
        <p:nvSpPr>
          <p:cNvPr id="269" name="Google Shape;269;p28"/>
          <p:cNvSpPr txBox="1"/>
          <p:nvPr/>
        </p:nvSpPr>
        <p:spPr>
          <a:xfrm>
            <a:off x="3806800" y="1957767"/>
            <a:ext cx="2129200" cy="697715"/>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Senator: Marisa Gutierrez</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0" name="Google Shape;270;p28"/>
          <p:cNvSpPr txBox="1"/>
          <p:nvPr/>
        </p:nvSpPr>
        <p:spPr>
          <a:xfrm>
            <a:off x="6467517" y="1957767"/>
            <a:ext cx="2652800" cy="471948"/>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Senator: Emma Roginski</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1" name="Google Shape;271;p28"/>
          <p:cNvSpPr txBox="1"/>
          <p:nvPr/>
        </p:nvSpPr>
        <p:spPr>
          <a:xfrm>
            <a:off x="9511800" y="1957768"/>
            <a:ext cx="1788000" cy="697715"/>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Senator: Yamini Prasad</a:t>
            </a: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272" name="Google Shape;272;p28"/>
          <p:cNvPicPr preferRelativeResize="0"/>
          <p:nvPr/>
        </p:nvPicPr>
        <p:blipFill>
          <a:blip r:embed="rId3">
            <a:alphaModFix/>
          </a:blip>
          <a:stretch>
            <a:fillRect/>
          </a:stretch>
        </p:blipFill>
        <p:spPr>
          <a:xfrm>
            <a:off x="9511800" y="2971567"/>
            <a:ext cx="2058400" cy="3081735"/>
          </a:xfrm>
          <a:prstGeom prst="rect">
            <a:avLst/>
          </a:prstGeom>
          <a:noFill/>
          <a:ln>
            <a:noFill/>
          </a:ln>
        </p:spPr>
      </p:pic>
      <p:pic>
        <p:nvPicPr>
          <p:cNvPr id="273" name="Google Shape;273;p28"/>
          <p:cNvPicPr preferRelativeResize="0"/>
          <p:nvPr/>
        </p:nvPicPr>
        <p:blipFill>
          <a:blip r:embed="rId4">
            <a:alphaModFix/>
          </a:blip>
          <a:stretch>
            <a:fillRect/>
          </a:stretch>
        </p:blipFill>
        <p:spPr>
          <a:xfrm>
            <a:off x="734767" y="3147867"/>
            <a:ext cx="2184400" cy="2489200"/>
          </a:xfrm>
          <a:prstGeom prst="rect">
            <a:avLst/>
          </a:prstGeom>
          <a:noFill/>
          <a:ln>
            <a:noFill/>
          </a:ln>
        </p:spPr>
      </p:pic>
      <p:pic>
        <p:nvPicPr>
          <p:cNvPr id="274" name="Google Shape;274;p28"/>
          <p:cNvPicPr preferRelativeResize="0"/>
          <p:nvPr/>
        </p:nvPicPr>
        <p:blipFill>
          <a:blip r:embed="rId5">
            <a:alphaModFix/>
          </a:blip>
          <a:stretch>
            <a:fillRect/>
          </a:stretch>
        </p:blipFill>
        <p:spPr>
          <a:xfrm>
            <a:off x="3578640" y="3147867"/>
            <a:ext cx="2410360" cy="2574733"/>
          </a:xfrm>
          <a:prstGeom prst="rect">
            <a:avLst/>
          </a:prstGeom>
          <a:noFill/>
          <a:ln>
            <a:noFill/>
          </a:ln>
        </p:spPr>
      </p:pic>
      <p:pic>
        <p:nvPicPr>
          <p:cNvPr id="275" name="Google Shape;275;p28"/>
          <p:cNvPicPr preferRelativeResize="0"/>
          <p:nvPr/>
        </p:nvPicPr>
        <p:blipFill>
          <a:blip r:embed="rId6">
            <a:alphaModFix/>
          </a:blip>
          <a:stretch>
            <a:fillRect/>
          </a:stretch>
        </p:blipFill>
        <p:spPr>
          <a:xfrm>
            <a:off x="6424000" y="3400117"/>
            <a:ext cx="2652800" cy="1848017"/>
          </a:xfrm>
          <a:prstGeom prst="rect">
            <a:avLst/>
          </a:prstGeom>
          <a:noFill/>
          <a:ln>
            <a:noFill/>
          </a:ln>
        </p:spPr>
      </p:pic>
    </p:spTree>
    <p:extLst>
      <p:ext uri="{BB962C8B-B14F-4D97-AF65-F5344CB8AC3E}">
        <p14:creationId xmlns:p14="http://schemas.microsoft.com/office/powerpoint/2010/main" val="18367232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Google Shape;280;p29"/>
          <p:cNvSpPr txBox="1">
            <a:spLocks noGrp="1"/>
          </p:cNvSpPr>
          <p:nvPr>
            <p:ph type="title" idx="6"/>
          </p:nvPr>
        </p:nvSpPr>
        <p:spPr>
          <a:xfrm>
            <a:off x="952167" y="798567"/>
            <a:ext cx="10287600" cy="487600"/>
          </a:xfrm>
          <a:prstGeom prst="rect">
            <a:avLst/>
          </a:prstGeom>
        </p:spPr>
        <p:txBody>
          <a:bodyPr spcFirstLastPara="1" wrap="square" lIns="121900" tIns="121900" rIns="121900" bIns="121900" anchor="ctr" anchorCtr="0">
            <a:noAutofit/>
          </a:bodyPr>
          <a:lstStyle/>
          <a:p>
            <a:r>
              <a:rPr lang="en" sz="3733"/>
              <a:t>Environmental Sustainability Initiative</a:t>
            </a:r>
            <a:endParaRPr sz="3733"/>
          </a:p>
        </p:txBody>
      </p:sp>
      <p:sp>
        <p:nvSpPr>
          <p:cNvPr id="281" name="Google Shape;281;p29"/>
          <p:cNvSpPr txBox="1">
            <a:spLocks noGrp="1"/>
          </p:cNvSpPr>
          <p:nvPr>
            <p:ph type="subTitle" idx="3"/>
          </p:nvPr>
        </p:nvSpPr>
        <p:spPr>
          <a:xfrm>
            <a:off x="4157581" y="2522133"/>
            <a:ext cx="3876800" cy="952800"/>
          </a:xfrm>
          <a:prstGeom prst="rect">
            <a:avLst/>
          </a:prstGeom>
        </p:spPr>
        <p:txBody>
          <a:bodyPr spcFirstLastPara="1" wrap="square" lIns="121900" tIns="121900" rIns="121900" bIns="121900" anchor="ctr" anchorCtr="0">
            <a:noAutofit/>
          </a:bodyPr>
          <a:lstStyle/>
          <a:p>
            <a:pPr marL="609585" indent="-457189" algn="l">
              <a:buChar char="●"/>
            </a:pPr>
            <a:r>
              <a:rPr lang="en"/>
              <a:t>Move towards zero waste</a:t>
            </a:r>
            <a:endParaRPr/>
          </a:p>
          <a:p>
            <a:pPr marL="609585" indent="-457189" algn="l">
              <a:buChar char="●"/>
            </a:pPr>
            <a:r>
              <a:rPr lang="en"/>
              <a:t>More EV charging stations</a:t>
            </a:r>
            <a:endParaRPr/>
          </a:p>
          <a:p>
            <a:pPr marL="609585" indent="-457189" algn="l">
              <a:buChar char="●"/>
            </a:pPr>
            <a:r>
              <a:rPr lang="en"/>
              <a:t>Update sustainability plan</a:t>
            </a:r>
            <a:endParaRPr/>
          </a:p>
        </p:txBody>
      </p:sp>
      <p:sp>
        <p:nvSpPr>
          <p:cNvPr id="282" name="Google Shape;282;p29"/>
          <p:cNvSpPr txBox="1">
            <a:spLocks noGrp="1"/>
          </p:cNvSpPr>
          <p:nvPr>
            <p:ph type="title" idx="5"/>
          </p:nvPr>
        </p:nvSpPr>
        <p:spPr>
          <a:xfrm>
            <a:off x="4327800" y="1815167"/>
            <a:ext cx="3536400" cy="487600"/>
          </a:xfrm>
          <a:prstGeom prst="rect">
            <a:avLst/>
          </a:prstGeom>
        </p:spPr>
        <p:txBody>
          <a:bodyPr spcFirstLastPara="1" wrap="square" lIns="121900" tIns="121900" rIns="121900" bIns="121900" anchor="ctr" anchorCtr="0">
            <a:noAutofit/>
          </a:bodyPr>
          <a:lstStyle/>
          <a:p>
            <a:r>
              <a:rPr lang="en"/>
              <a:t>New Initiatives</a:t>
            </a:r>
            <a:endParaRPr/>
          </a:p>
        </p:txBody>
      </p:sp>
      <p:sp>
        <p:nvSpPr>
          <p:cNvPr id="283" name="Google Shape;283;p29"/>
          <p:cNvSpPr txBox="1">
            <a:spLocks noGrp="1"/>
          </p:cNvSpPr>
          <p:nvPr>
            <p:ph type="subTitle" idx="1"/>
          </p:nvPr>
        </p:nvSpPr>
        <p:spPr>
          <a:xfrm>
            <a:off x="420000" y="2312702"/>
            <a:ext cx="3737600" cy="2086300"/>
          </a:xfrm>
          <a:prstGeom prst="rect">
            <a:avLst/>
          </a:prstGeom>
        </p:spPr>
        <p:txBody>
          <a:bodyPr spcFirstLastPara="1" wrap="square" lIns="121900" tIns="121900" rIns="121900" bIns="121900" anchor="ctr" anchorCtr="0">
            <a:spAutoFit/>
          </a:bodyPr>
          <a:lstStyle/>
          <a:p>
            <a:pPr marL="609585" indent="-448722" algn="l">
              <a:buSzPts val="1700"/>
              <a:buChar char="●"/>
            </a:pPr>
            <a:r>
              <a:rPr lang="en" sz="1733"/>
              <a:t>Use more sustainable packaging in food services</a:t>
            </a:r>
            <a:endParaRPr sz="1733"/>
          </a:p>
          <a:p>
            <a:pPr marL="609585" indent="-448722" algn="l">
              <a:buSzPts val="1700"/>
              <a:buChar char="●"/>
            </a:pPr>
            <a:r>
              <a:rPr lang="en" sz="1733"/>
              <a:t>Energy conservation and efficiency</a:t>
            </a:r>
            <a:endParaRPr sz="1733"/>
          </a:p>
          <a:p>
            <a:pPr marL="609585" indent="-448722" algn="l">
              <a:buSzPts val="1700"/>
              <a:buChar char="●"/>
            </a:pPr>
            <a:r>
              <a:rPr lang="en" sz="1733"/>
              <a:t>Campus and community awareness and involvement</a:t>
            </a:r>
            <a:endParaRPr sz="1733"/>
          </a:p>
        </p:txBody>
      </p:sp>
      <p:sp>
        <p:nvSpPr>
          <p:cNvPr id="284" name="Google Shape;284;p29"/>
          <p:cNvSpPr txBox="1">
            <a:spLocks noGrp="1"/>
          </p:cNvSpPr>
          <p:nvPr>
            <p:ph type="subTitle" idx="2"/>
          </p:nvPr>
        </p:nvSpPr>
        <p:spPr>
          <a:xfrm>
            <a:off x="8034367" y="2463633"/>
            <a:ext cx="3737600" cy="952800"/>
          </a:xfrm>
          <a:prstGeom prst="rect">
            <a:avLst/>
          </a:prstGeom>
        </p:spPr>
        <p:txBody>
          <a:bodyPr spcFirstLastPara="1" wrap="square" lIns="121900" tIns="121900" rIns="121900" bIns="121900" anchor="ctr" anchorCtr="0">
            <a:noAutofit/>
          </a:bodyPr>
          <a:lstStyle/>
          <a:p>
            <a:pPr marL="609585" indent="-457189" algn="l">
              <a:buChar char="●"/>
            </a:pPr>
            <a:r>
              <a:rPr lang="en"/>
              <a:t>Environmental club</a:t>
            </a:r>
            <a:endParaRPr/>
          </a:p>
          <a:p>
            <a:pPr marL="609585" indent="-457189" algn="l">
              <a:buChar char="●"/>
            </a:pPr>
            <a:r>
              <a:rPr lang="en"/>
              <a:t>Energize Colleges internships</a:t>
            </a:r>
            <a:endParaRPr/>
          </a:p>
        </p:txBody>
      </p:sp>
      <p:sp>
        <p:nvSpPr>
          <p:cNvPr id="285" name="Google Shape;285;p29"/>
          <p:cNvSpPr txBox="1">
            <a:spLocks noGrp="1"/>
          </p:cNvSpPr>
          <p:nvPr>
            <p:ph type="title"/>
          </p:nvPr>
        </p:nvSpPr>
        <p:spPr>
          <a:xfrm>
            <a:off x="553000" y="1776200"/>
            <a:ext cx="3471600" cy="487600"/>
          </a:xfrm>
          <a:prstGeom prst="rect">
            <a:avLst/>
          </a:prstGeom>
        </p:spPr>
        <p:txBody>
          <a:bodyPr spcFirstLastPara="1" wrap="square" lIns="121900" tIns="121900" rIns="121900" bIns="121900" anchor="ctr" anchorCtr="0">
            <a:noAutofit/>
          </a:bodyPr>
          <a:lstStyle/>
          <a:p>
            <a:r>
              <a:rPr lang="en"/>
              <a:t>Ongoing Plans</a:t>
            </a:r>
            <a:endParaRPr/>
          </a:p>
        </p:txBody>
      </p:sp>
      <p:sp>
        <p:nvSpPr>
          <p:cNvPr id="286" name="Google Shape;286;p29"/>
          <p:cNvSpPr txBox="1">
            <a:spLocks noGrp="1"/>
          </p:cNvSpPr>
          <p:nvPr>
            <p:ph type="title" idx="4"/>
          </p:nvPr>
        </p:nvSpPr>
        <p:spPr>
          <a:xfrm>
            <a:off x="8134967" y="1815167"/>
            <a:ext cx="3536400" cy="487600"/>
          </a:xfrm>
          <a:prstGeom prst="rect">
            <a:avLst/>
          </a:prstGeom>
        </p:spPr>
        <p:txBody>
          <a:bodyPr spcFirstLastPara="1" wrap="square" lIns="121900" tIns="121900" rIns="121900" bIns="121900" anchor="ctr" anchorCtr="0">
            <a:noAutofit/>
          </a:bodyPr>
          <a:lstStyle/>
          <a:p>
            <a:r>
              <a:rPr lang="en"/>
              <a:t>Get Involved</a:t>
            </a:r>
            <a:endParaRPr/>
          </a:p>
        </p:txBody>
      </p:sp>
      <p:pic>
        <p:nvPicPr>
          <p:cNvPr id="287" name="Google Shape;287;p29"/>
          <p:cNvPicPr preferRelativeResize="0"/>
          <p:nvPr/>
        </p:nvPicPr>
        <p:blipFill>
          <a:blip r:embed="rId3">
            <a:alphaModFix/>
          </a:blip>
          <a:stretch>
            <a:fillRect/>
          </a:stretch>
        </p:blipFill>
        <p:spPr>
          <a:xfrm>
            <a:off x="5088834" y="4156301"/>
            <a:ext cx="4532765" cy="2047567"/>
          </a:xfrm>
          <a:prstGeom prst="rect">
            <a:avLst/>
          </a:prstGeom>
          <a:noFill/>
          <a:ln>
            <a:noFill/>
          </a:ln>
        </p:spPr>
      </p:pic>
      <p:grpSp>
        <p:nvGrpSpPr>
          <p:cNvPr id="288" name="Google Shape;288;p29"/>
          <p:cNvGrpSpPr/>
          <p:nvPr/>
        </p:nvGrpSpPr>
        <p:grpSpPr>
          <a:xfrm>
            <a:off x="1303102" y="4852526"/>
            <a:ext cx="1590255" cy="1351356"/>
            <a:chOff x="9143997" y="717540"/>
            <a:chExt cx="2210734" cy="1962279"/>
          </a:xfrm>
        </p:grpSpPr>
        <p:sp>
          <p:nvSpPr>
            <p:cNvPr id="289" name="Google Shape;289;p29"/>
            <p:cNvSpPr/>
            <p:nvPr/>
          </p:nvSpPr>
          <p:spPr>
            <a:xfrm>
              <a:off x="9839647" y="1845764"/>
              <a:ext cx="192588" cy="251615"/>
            </a:xfrm>
            <a:custGeom>
              <a:avLst/>
              <a:gdLst/>
              <a:ahLst/>
              <a:cxnLst/>
              <a:rect l="l" t="t" r="r" b="b"/>
              <a:pathLst>
                <a:path w="4571" h="5972" extrusionOk="0">
                  <a:moveTo>
                    <a:pt x="2369" y="0"/>
                  </a:moveTo>
                  <a:cubicBezTo>
                    <a:pt x="2336" y="167"/>
                    <a:pt x="2369" y="367"/>
                    <a:pt x="2136" y="467"/>
                  </a:cubicBezTo>
                  <a:cubicBezTo>
                    <a:pt x="2169" y="968"/>
                    <a:pt x="2102" y="1435"/>
                    <a:pt x="1669" y="1768"/>
                  </a:cubicBezTo>
                  <a:cubicBezTo>
                    <a:pt x="1635" y="2202"/>
                    <a:pt x="1435" y="2469"/>
                    <a:pt x="968" y="2469"/>
                  </a:cubicBezTo>
                  <a:cubicBezTo>
                    <a:pt x="901" y="2535"/>
                    <a:pt x="835" y="2602"/>
                    <a:pt x="768" y="2669"/>
                  </a:cubicBezTo>
                  <a:cubicBezTo>
                    <a:pt x="601" y="2969"/>
                    <a:pt x="268" y="2936"/>
                    <a:pt x="1" y="2969"/>
                  </a:cubicBezTo>
                  <a:cubicBezTo>
                    <a:pt x="34" y="3069"/>
                    <a:pt x="34" y="3169"/>
                    <a:pt x="34" y="3236"/>
                  </a:cubicBezTo>
                  <a:cubicBezTo>
                    <a:pt x="1635" y="3369"/>
                    <a:pt x="2002" y="4637"/>
                    <a:pt x="2369" y="5971"/>
                  </a:cubicBezTo>
                  <a:cubicBezTo>
                    <a:pt x="2603" y="5438"/>
                    <a:pt x="2603" y="4971"/>
                    <a:pt x="2903" y="4637"/>
                  </a:cubicBezTo>
                  <a:cubicBezTo>
                    <a:pt x="3070" y="4137"/>
                    <a:pt x="3403" y="3803"/>
                    <a:pt x="3870" y="3570"/>
                  </a:cubicBezTo>
                  <a:cubicBezTo>
                    <a:pt x="4070" y="3303"/>
                    <a:pt x="4537" y="3369"/>
                    <a:pt x="4571" y="2969"/>
                  </a:cubicBezTo>
                  <a:cubicBezTo>
                    <a:pt x="3170" y="2469"/>
                    <a:pt x="2603" y="1335"/>
                    <a:pt x="2369"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0" name="Google Shape;290;p29"/>
            <p:cNvSpPr/>
            <p:nvPr/>
          </p:nvSpPr>
          <p:spPr>
            <a:xfrm>
              <a:off x="9956312" y="717540"/>
              <a:ext cx="1323930" cy="1516138"/>
            </a:xfrm>
            <a:custGeom>
              <a:avLst/>
              <a:gdLst/>
              <a:ahLst/>
              <a:cxnLst/>
              <a:rect l="l" t="t" r="r" b="b"/>
              <a:pathLst>
                <a:path w="31423" h="35985" extrusionOk="0">
                  <a:moveTo>
                    <a:pt x="17275" y="1"/>
                  </a:moveTo>
                  <a:cubicBezTo>
                    <a:pt x="17127" y="1"/>
                    <a:pt x="16954" y="68"/>
                    <a:pt x="16746" y="193"/>
                  </a:cubicBezTo>
                  <a:cubicBezTo>
                    <a:pt x="11709" y="3061"/>
                    <a:pt x="6639" y="5930"/>
                    <a:pt x="1568" y="8765"/>
                  </a:cubicBezTo>
                  <a:cubicBezTo>
                    <a:pt x="834" y="9166"/>
                    <a:pt x="401" y="9766"/>
                    <a:pt x="167" y="10533"/>
                  </a:cubicBezTo>
                  <a:cubicBezTo>
                    <a:pt x="0" y="10900"/>
                    <a:pt x="0" y="11267"/>
                    <a:pt x="134" y="11634"/>
                  </a:cubicBezTo>
                  <a:cubicBezTo>
                    <a:pt x="267" y="12235"/>
                    <a:pt x="601" y="12802"/>
                    <a:pt x="901" y="13335"/>
                  </a:cubicBezTo>
                  <a:cubicBezTo>
                    <a:pt x="2335" y="15904"/>
                    <a:pt x="3770" y="18472"/>
                    <a:pt x="5238" y="21008"/>
                  </a:cubicBezTo>
                  <a:cubicBezTo>
                    <a:pt x="7906" y="25644"/>
                    <a:pt x="10475" y="30314"/>
                    <a:pt x="13143" y="34918"/>
                  </a:cubicBezTo>
                  <a:cubicBezTo>
                    <a:pt x="13377" y="35351"/>
                    <a:pt x="13510" y="35885"/>
                    <a:pt x="14077" y="35985"/>
                  </a:cubicBezTo>
                  <a:cubicBezTo>
                    <a:pt x="14211" y="35918"/>
                    <a:pt x="14311" y="35818"/>
                    <a:pt x="14311" y="35718"/>
                  </a:cubicBezTo>
                  <a:cubicBezTo>
                    <a:pt x="14477" y="34350"/>
                    <a:pt x="15478" y="33783"/>
                    <a:pt x="16546" y="33183"/>
                  </a:cubicBezTo>
                  <a:cubicBezTo>
                    <a:pt x="21149" y="30581"/>
                    <a:pt x="25752" y="28013"/>
                    <a:pt x="30322" y="25377"/>
                  </a:cubicBezTo>
                  <a:cubicBezTo>
                    <a:pt x="30722" y="25177"/>
                    <a:pt x="31189" y="24977"/>
                    <a:pt x="31356" y="24477"/>
                  </a:cubicBezTo>
                  <a:cubicBezTo>
                    <a:pt x="31423" y="23876"/>
                    <a:pt x="31056" y="23409"/>
                    <a:pt x="30789" y="22942"/>
                  </a:cubicBezTo>
                  <a:cubicBezTo>
                    <a:pt x="26786" y="15871"/>
                    <a:pt x="22783" y="8799"/>
                    <a:pt x="18814" y="1727"/>
                  </a:cubicBezTo>
                  <a:cubicBezTo>
                    <a:pt x="18547" y="1260"/>
                    <a:pt x="18247" y="793"/>
                    <a:pt x="17780" y="426"/>
                  </a:cubicBezTo>
                  <a:cubicBezTo>
                    <a:pt x="17643" y="134"/>
                    <a:pt x="17484" y="1"/>
                    <a:pt x="17275" y="1"/>
                  </a:cubicBezTo>
                  <a:close/>
                </a:path>
              </a:pathLst>
            </a:custGeom>
            <a:solidFill>
              <a:srgbClr val="FFF9E8"/>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1" name="Google Shape;291;p29"/>
            <p:cNvSpPr/>
            <p:nvPr/>
          </p:nvSpPr>
          <p:spPr>
            <a:xfrm>
              <a:off x="9165063" y="1185211"/>
              <a:ext cx="1271938" cy="1424036"/>
            </a:xfrm>
            <a:custGeom>
              <a:avLst/>
              <a:gdLst/>
              <a:ahLst/>
              <a:cxnLst/>
              <a:rect l="l" t="t" r="r" b="b"/>
              <a:pathLst>
                <a:path w="30189" h="33799" extrusionOk="0">
                  <a:moveTo>
                    <a:pt x="15647" y="11206"/>
                  </a:moveTo>
                  <a:lnTo>
                    <a:pt x="15647" y="11206"/>
                  </a:lnTo>
                  <a:cubicBezTo>
                    <a:pt x="15514" y="11285"/>
                    <a:pt x="15380" y="11365"/>
                    <a:pt x="15245" y="11442"/>
                  </a:cubicBezTo>
                  <a:cubicBezTo>
                    <a:pt x="13039" y="12711"/>
                    <a:pt x="10805" y="13953"/>
                    <a:pt x="8569" y="15167"/>
                  </a:cubicBezTo>
                  <a:lnTo>
                    <a:pt x="8569" y="15167"/>
                  </a:lnTo>
                  <a:cubicBezTo>
                    <a:pt x="10694" y="14003"/>
                    <a:pt x="12775" y="12748"/>
                    <a:pt x="14911" y="11575"/>
                  </a:cubicBezTo>
                  <a:cubicBezTo>
                    <a:pt x="15150" y="11446"/>
                    <a:pt x="15400" y="11329"/>
                    <a:pt x="15647" y="11206"/>
                  </a:cubicBezTo>
                  <a:close/>
                  <a:moveTo>
                    <a:pt x="16345" y="0"/>
                  </a:moveTo>
                  <a:cubicBezTo>
                    <a:pt x="15812" y="167"/>
                    <a:pt x="15345" y="434"/>
                    <a:pt x="14944" y="768"/>
                  </a:cubicBezTo>
                  <a:cubicBezTo>
                    <a:pt x="14778" y="1301"/>
                    <a:pt x="15111" y="1668"/>
                    <a:pt x="15311" y="2069"/>
                  </a:cubicBezTo>
                  <a:cubicBezTo>
                    <a:pt x="17279" y="5504"/>
                    <a:pt x="19214" y="8974"/>
                    <a:pt x="21182" y="12409"/>
                  </a:cubicBezTo>
                  <a:cubicBezTo>
                    <a:pt x="22316" y="14444"/>
                    <a:pt x="23417" y="16479"/>
                    <a:pt x="24618" y="18480"/>
                  </a:cubicBezTo>
                  <a:cubicBezTo>
                    <a:pt x="24485" y="18464"/>
                    <a:pt x="24351" y="18447"/>
                    <a:pt x="24218" y="18447"/>
                  </a:cubicBezTo>
                  <a:cubicBezTo>
                    <a:pt x="24084" y="18447"/>
                    <a:pt x="23951" y="18464"/>
                    <a:pt x="23817" y="18514"/>
                  </a:cubicBezTo>
                  <a:cubicBezTo>
                    <a:pt x="20215" y="20415"/>
                    <a:pt x="16646" y="22483"/>
                    <a:pt x="13076" y="24451"/>
                  </a:cubicBezTo>
                  <a:cubicBezTo>
                    <a:pt x="16012" y="22717"/>
                    <a:pt x="19014" y="21082"/>
                    <a:pt x="21983" y="19414"/>
                  </a:cubicBezTo>
                  <a:cubicBezTo>
                    <a:pt x="22283" y="19248"/>
                    <a:pt x="22583" y="19081"/>
                    <a:pt x="22717" y="18747"/>
                  </a:cubicBezTo>
                  <a:cubicBezTo>
                    <a:pt x="22483" y="18180"/>
                    <a:pt x="21916" y="17980"/>
                    <a:pt x="21482" y="17646"/>
                  </a:cubicBezTo>
                  <a:cubicBezTo>
                    <a:pt x="20715" y="17646"/>
                    <a:pt x="20181" y="18147"/>
                    <a:pt x="19548" y="18480"/>
                  </a:cubicBezTo>
                  <a:cubicBezTo>
                    <a:pt x="17013" y="19915"/>
                    <a:pt x="14477" y="21382"/>
                    <a:pt x="11876" y="22750"/>
                  </a:cubicBezTo>
                  <a:cubicBezTo>
                    <a:pt x="14678" y="21082"/>
                    <a:pt x="17546" y="19548"/>
                    <a:pt x="20348" y="17913"/>
                  </a:cubicBezTo>
                  <a:cubicBezTo>
                    <a:pt x="20715" y="17746"/>
                    <a:pt x="21082" y="17546"/>
                    <a:pt x="21216" y="17146"/>
                  </a:cubicBezTo>
                  <a:cubicBezTo>
                    <a:pt x="21249" y="16512"/>
                    <a:pt x="20982" y="16112"/>
                    <a:pt x="20482" y="15812"/>
                  </a:cubicBezTo>
                  <a:cubicBezTo>
                    <a:pt x="20432" y="15805"/>
                    <a:pt x="20384" y="15801"/>
                    <a:pt x="20337" y="15801"/>
                  </a:cubicBezTo>
                  <a:cubicBezTo>
                    <a:pt x="19950" y="15801"/>
                    <a:pt x="19675" y="16033"/>
                    <a:pt x="19348" y="16212"/>
                  </a:cubicBezTo>
                  <a:cubicBezTo>
                    <a:pt x="16546" y="17780"/>
                    <a:pt x="13777" y="19414"/>
                    <a:pt x="10942" y="20949"/>
                  </a:cubicBezTo>
                  <a:cubicBezTo>
                    <a:pt x="13543" y="19414"/>
                    <a:pt x="16179" y="17947"/>
                    <a:pt x="18814" y="16446"/>
                  </a:cubicBezTo>
                  <a:cubicBezTo>
                    <a:pt x="19314" y="16145"/>
                    <a:pt x="19915" y="15945"/>
                    <a:pt x="20181" y="15378"/>
                  </a:cubicBezTo>
                  <a:cubicBezTo>
                    <a:pt x="20248" y="14778"/>
                    <a:pt x="20015" y="14344"/>
                    <a:pt x="19481" y="14044"/>
                  </a:cubicBezTo>
                  <a:cubicBezTo>
                    <a:pt x="19456" y="14042"/>
                    <a:pt x="19431" y="14042"/>
                    <a:pt x="19407" y="14042"/>
                  </a:cubicBezTo>
                  <a:cubicBezTo>
                    <a:pt x="18913" y="14042"/>
                    <a:pt x="18562" y="14353"/>
                    <a:pt x="18180" y="14544"/>
                  </a:cubicBezTo>
                  <a:cubicBezTo>
                    <a:pt x="15445" y="16045"/>
                    <a:pt x="12743" y="17613"/>
                    <a:pt x="9907" y="19214"/>
                  </a:cubicBezTo>
                  <a:cubicBezTo>
                    <a:pt x="10174" y="18914"/>
                    <a:pt x="10374" y="18814"/>
                    <a:pt x="10608" y="18714"/>
                  </a:cubicBezTo>
                  <a:cubicBezTo>
                    <a:pt x="12976" y="17446"/>
                    <a:pt x="15311" y="16045"/>
                    <a:pt x="17646" y="14744"/>
                  </a:cubicBezTo>
                  <a:cubicBezTo>
                    <a:pt x="18213" y="14444"/>
                    <a:pt x="18847" y="14211"/>
                    <a:pt x="19214" y="13644"/>
                  </a:cubicBezTo>
                  <a:cubicBezTo>
                    <a:pt x="19247" y="13043"/>
                    <a:pt x="18981" y="12609"/>
                    <a:pt x="18514" y="12276"/>
                  </a:cubicBezTo>
                  <a:cubicBezTo>
                    <a:pt x="18466" y="12271"/>
                    <a:pt x="18420" y="12269"/>
                    <a:pt x="18374" y="12269"/>
                  </a:cubicBezTo>
                  <a:cubicBezTo>
                    <a:pt x="17815" y="12269"/>
                    <a:pt x="17411" y="12630"/>
                    <a:pt x="16979" y="12876"/>
                  </a:cubicBezTo>
                  <a:cubicBezTo>
                    <a:pt x="14311" y="14344"/>
                    <a:pt x="11675" y="15845"/>
                    <a:pt x="8973" y="17380"/>
                  </a:cubicBezTo>
                  <a:cubicBezTo>
                    <a:pt x="9074" y="17213"/>
                    <a:pt x="9174" y="17146"/>
                    <a:pt x="9274" y="17079"/>
                  </a:cubicBezTo>
                  <a:cubicBezTo>
                    <a:pt x="11842" y="15678"/>
                    <a:pt x="14377" y="14244"/>
                    <a:pt x="16912" y="12776"/>
                  </a:cubicBezTo>
                  <a:cubicBezTo>
                    <a:pt x="17379" y="12509"/>
                    <a:pt x="17947" y="12309"/>
                    <a:pt x="18180" y="11742"/>
                  </a:cubicBezTo>
                  <a:cubicBezTo>
                    <a:pt x="18180" y="11142"/>
                    <a:pt x="17980" y="10675"/>
                    <a:pt x="17413" y="10408"/>
                  </a:cubicBezTo>
                  <a:cubicBezTo>
                    <a:pt x="17045" y="10485"/>
                    <a:pt x="16705" y="10625"/>
                    <a:pt x="16377" y="10793"/>
                  </a:cubicBezTo>
                  <a:lnTo>
                    <a:pt x="16377" y="10793"/>
                  </a:lnTo>
                  <a:cubicBezTo>
                    <a:pt x="16678" y="10588"/>
                    <a:pt x="16946" y="10340"/>
                    <a:pt x="17146" y="10008"/>
                  </a:cubicBezTo>
                  <a:cubicBezTo>
                    <a:pt x="17179" y="9407"/>
                    <a:pt x="16946" y="8940"/>
                    <a:pt x="16412" y="8640"/>
                  </a:cubicBezTo>
                  <a:cubicBezTo>
                    <a:pt x="15845" y="8640"/>
                    <a:pt x="15445" y="8974"/>
                    <a:pt x="14978" y="9240"/>
                  </a:cubicBezTo>
                  <a:cubicBezTo>
                    <a:pt x="12276" y="10775"/>
                    <a:pt x="9574" y="12309"/>
                    <a:pt x="6872" y="13810"/>
                  </a:cubicBezTo>
                  <a:cubicBezTo>
                    <a:pt x="9641" y="12176"/>
                    <a:pt x="12443" y="10641"/>
                    <a:pt x="15211" y="9040"/>
                  </a:cubicBezTo>
                  <a:cubicBezTo>
                    <a:pt x="15578" y="8840"/>
                    <a:pt x="16012" y="8673"/>
                    <a:pt x="16179" y="8206"/>
                  </a:cubicBezTo>
                  <a:cubicBezTo>
                    <a:pt x="16245" y="7873"/>
                    <a:pt x="16112" y="7539"/>
                    <a:pt x="15945" y="7239"/>
                  </a:cubicBezTo>
                  <a:cubicBezTo>
                    <a:pt x="15044" y="5705"/>
                    <a:pt x="14177" y="4137"/>
                    <a:pt x="13277" y="2602"/>
                  </a:cubicBezTo>
                  <a:cubicBezTo>
                    <a:pt x="13143" y="2369"/>
                    <a:pt x="13010" y="2102"/>
                    <a:pt x="12676" y="2035"/>
                  </a:cubicBezTo>
                  <a:cubicBezTo>
                    <a:pt x="8640" y="4304"/>
                    <a:pt x="4604" y="6605"/>
                    <a:pt x="534" y="8840"/>
                  </a:cubicBezTo>
                  <a:cubicBezTo>
                    <a:pt x="0" y="9140"/>
                    <a:pt x="367" y="9374"/>
                    <a:pt x="434" y="9674"/>
                  </a:cubicBezTo>
                  <a:cubicBezTo>
                    <a:pt x="401" y="10208"/>
                    <a:pt x="701" y="10675"/>
                    <a:pt x="968" y="11142"/>
                  </a:cubicBezTo>
                  <a:cubicBezTo>
                    <a:pt x="4737" y="17847"/>
                    <a:pt x="8540" y="24551"/>
                    <a:pt x="12309" y="31256"/>
                  </a:cubicBezTo>
                  <a:cubicBezTo>
                    <a:pt x="12776" y="32090"/>
                    <a:pt x="13143" y="33024"/>
                    <a:pt x="13844" y="33691"/>
                  </a:cubicBezTo>
                  <a:cubicBezTo>
                    <a:pt x="14003" y="33767"/>
                    <a:pt x="14153" y="33798"/>
                    <a:pt x="14294" y="33798"/>
                  </a:cubicBezTo>
                  <a:cubicBezTo>
                    <a:pt x="14713" y="33798"/>
                    <a:pt x="15062" y="33524"/>
                    <a:pt x="15411" y="33324"/>
                  </a:cubicBezTo>
                  <a:cubicBezTo>
                    <a:pt x="19948" y="30756"/>
                    <a:pt x="24518" y="28221"/>
                    <a:pt x="29054" y="25652"/>
                  </a:cubicBezTo>
                  <a:cubicBezTo>
                    <a:pt x="29421" y="25452"/>
                    <a:pt x="29788" y="25252"/>
                    <a:pt x="29955" y="24852"/>
                  </a:cubicBezTo>
                  <a:cubicBezTo>
                    <a:pt x="30189" y="24351"/>
                    <a:pt x="29955" y="23918"/>
                    <a:pt x="29722" y="23451"/>
                  </a:cubicBezTo>
                  <a:cubicBezTo>
                    <a:pt x="28087" y="20482"/>
                    <a:pt x="26386" y="17546"/>
                    <a:pt x="24718" y="14611"/>
                  </a:cubicBezTo>
                  <a:cubicBezTo>
                    <a:pt x="22083" y="9874"/>
                    <a:pt x="19348" y="5204"/>
                    <a:pt x="16779" y="467"/>
                  </a:cubicBezTo>
                  <a:cubicBezTo>
                    <a:pt x="16679" y="267"/>
                    <a:pt x="16579" y="67"/>
                    <a:pt x="16345" y="0"/>
                  </a:cubicBezTo>
                  <a:close/>
                </a:path>
              </a:pathLst>
            </a:custGeom>
            <a:solidFill>
              <a:srgbClr val="F6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2" name="Google Shape;292;p29"/>
            <p:cNvSpPr/>
            <p:nvPr/>
          </p:nvSpPr>
          <p:spPr>
            <a:xfrm>
              <a:off x="9143997" y="722006"/>
              <a:ext cx="2210734" cy="1957813"/>
            </a:xfrm>
            <a:custGeom>
              <a:avLst/>
              <a:gdLst/>
              <a:ahLst/>
              <a:cxnLst/>
              <a:rect l="l" t="t" r="r" b="b"/>
              <a:pathLst>
                <a:path w="52471" h="46468" extrusionOk="0">
                  <a:moveTo>
                    <a:pt x="37844" y="1"/>
                  </a:moveTo>
                  <a:cubicBezTo>
                    <a:pt x="37619" y="1"/>
                    <a:pt x="37363" y="105"/>
                    <a:pt x="37060" y="320"/>
                  </a:cubicBezTo>
                  <a:cubicBezTo>
                    <a:pt x="37960" y="1921"/>
                    <a:pt x="38828" y="3522"/>
                    <a:pt x="39728" y="5124"/>
                  </a:cubicBezTo>
                  <a:cubicBezTo>
                    <a:pt x="43298" y="11528"/>
                    <a:pt x="46934" y="17933"/>
                    <a:pt x="50536" y="24337"/>
                  </a:cubicBezTo>
                  <a:cubicBezTo>
                    <a:pt x="50603" y="25105"/>
                    <a:pt x="49969" y="25305"/>
                    <a:pt x="49469" y="25572"/>
                  </a:cubicBezTo>
                  <a:cubicBezTo>
                    <a:pt x="45032" y="28140"/>
                    <a:pt x="40529" y="30642"/>
                    <a:pt x="36092" y="33144"/>
                  </a:cubicBezTo>
                  <a:cubicBezTo>
                    <a:pt x="35259" y="33644"/>
                    <a:pt x="34691" y="34244"/>
                    <a:pt x="34458" y="35178"/>
                  </a:cubicBezTo>
                  <a:cubicBezTo>
                    <a:pt x="34288" y="35971"/>
                    <a:pt x="33469" y="36572"/>
                    <a:pt x="32654" y="36572"/>
                  </a:cubicBezTo>
                  <a:cubicBezTo>
                    <a:pt x="32509" y="36572"/>
                    <a:pt x="32364" y="36553"/>
                    <a:pt x="32223" y="36513"/>
                  </a:cubicBezTo>
                  <a:cubicBezTo>
                    <a:pt x="31905" y="36433"/>
                    <a:pt x="31598" y="36395"/>
                    <a:pt x="31299" y="36395"/>
                  </a:cubicBezTo>
                  <a:cubicBezTo>
                    <a:pt x="30598" y="36395"/>
                    <a:pt x="29943" y="36605"/>
                    <a:pt x="29288" y="36980"/>
                  </a:cubicBezTo>
                  <a:cubicBezTo>
                    <a:pt x="26352" y="38648"/>
                    <a:pt x="23450" y="40282"/>
                    <a:pt x="20515" y="41950"/>
                  </a:cubicBezTo>
                  <a:cubicBezTo>
                    <a:pt x="18947" y="42817"/>
                    <a:pt x="17412" y="43751"/>
                    <a:pt x="15811" y="44585"/>
                  </a:cubicBezTo>
                  <a:cubicBezTo>
                    <a:pt x="15547" y="44717"/>
                    <a:pt x="15284" y="44870"/>
                    <a:pt x="15026" y="44870"/>
                  </a:cubicBezTo>
                  <a:cubicBezTo>
                    <a:pt x="14827" y="44870"/>
                    <a:pt x="14632" y="44780"/>
                    <a:pt x="14444" y="44518"/>
                  </a:cubicBezTo>
                  <a:cubicBezTo>
                    <a:pt x="12843" y="41716"/>
                    <a:pt x="11275" y="38914"/>
                    <a:pt x="9674" y="36112"/>
                  </a:cubicBezTo>
                  <a:cubicBezTo>
                    <a:pt x="6772" y="30942"/>
                    <a:pt x="3836" y="25805"/>
                    <a:pt x="934" y="20668"/>
                  </a:cubicBezTo>
                  <a:cubicBezTo>
                    <a:pt x="0" y="21135"/>
                    <a:pt x="33" y="21735"/>
                    <a:pt x="534" y="22603"/>
                  </a:cubicBezTo>
                  <a:cubicBezTo>
                    <a:pt x="3202" y="27273"/>
                    <a:pt x="5838" y="31976"/>
                    <a:pt x="8506" y="36680"/>
                  </a:cubicBezTo>
                  <a:cubicBezTo>
                    <a:pt x="10207" y="39682"/>
                    <a:pt x="11942" y="42684"/>
                    <a:pt x="13610" y="45686"/>
                  </a:cubicBezTo>
                  <a:cubicBezTo>
                    <a:pt x="13881" y="46207"/>
                    <a:pt x="14139" y="46468"/>
                    <a:pt x="14498" y="46468"/>
                  </a:cubicBezTo>
                  <a:cubicBezTo>
                    <a:pt x="14713" y="46468"/>
                    <a:pt x="14965" y="46374"/>
                    <a:pt x="15278" y="46186"/>
                  </a:cubicBezTo>
                  <a:cubicBezTo>
                    <a:pt x="17279" y="44985"/>
                    <a:pt x="19314" y="43918"/>
                    <a:pt x="21349" y="42751"/>
                  </a:cubicBezTo>
                  <a:cubicBezTo>
                    <a:pt x="24151" y="41183"/>
                    <a:pt x="26919" y="39615"/>
                    <a:pt x="29688" y="38047"/>
                  </a:cubicBezTo>
                  <a:cubicBezTo>
                    <a:pt x="29883" y="37933"/>
                    <a:pt x="30047" y="37851"/>
                    <a:pt x="30202" y="37851"/>
                  </a:cubicBezTo>
                  <a:cubicBezTo>
                    <a:pt x="30365" y="37851"/>
                    <a:pt x="30518" y="37941"/>
                    <a:pt x="30689" y="38181"/>
                  </a:cubicBezTo>
                  <a:cubicBezTo>
                    <a:pt x="31037" y="38616"/>
                    <a:pt x="31669" y="38838"/>
                    <a:pt x="32280" y="38838"/>
                  </a:cubicBezTo>
                  <a:cubicBezTo>
                    <a:pt x="32605" y="38838"/>
                    <a:pt x="32924" y="38775"/>
                    <a:pt x="33190" y="38648"/>
                  </a:cubicBezTo>
                  <a:cubicBezTo>
                    <a:pt x="34024" y="38214"/>
                    <a:pt x="34792" y="37714"/>
                    <a:pt x="35625" y="37247"/>
                  </a:cubicBezTo>
                  <a:cubicBezTo>
                    <a:pt x="36426" y="36813"/>
                    <a:pt x="36793" y="36079"/>
                    <a:pt x="36626" y="35212"/>
                  </a:cubicBezTo>
                  <a:cubicBezTo>
                    <a:pt x="36493" y="34311"/>
                    <a:pt x="36893" y="33978"/>
                    <a:pt x="37560" y="33577"/>
                  </a:cubicBezTo>
                  <a:cubicBezTo>
                    <a:pt x="42197" y="31009"/>
                    <a:pt x="46800" y="28440"/>
                    <a:pt x="51370" y="25838"/>
                  </a:cubicBezTo>
                  <a:cubicBezTo>
                    <a:pt x="52437" y="25238"/>
                    <a:pt x="52471" y="25138"/>
                    <a:pt x="51904" y="24104"/>
                  </a:cubicBezTo>
                  <a:cubicBezTo>
                    <a:pt x="47534" y="16365"/>
                    <a:pt x="43131" y="8593"/>
                    <a:pt x="38794" y="821"/>
                  </a:cubicBezTo>
                  <a:cubicBezTo>
                    <a:pt x="38504" y="282"/>
                    <a:pt x="38214" y="1"/>
                    <a:pt x="37844" y="1"/>
                  </a:cubicBezTo>
                  <a:close/>
                </a:path>
              </a:pathLst>
            </a:custGeom>
            <a:solidFill>
              <a:srgbClr val="63493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3" name="Google Shape;293;p29"/>
            <p:cNvSpPr/>
            <p:nvPr/>
          </p:nvSpPr>
          <p:spPr>
            <a:xfrm>
              <a:off x="9853719" y="1173961"/>
              <a:ext cx="699821" cy="1070797"/>
            </a:xfrm>
            <a:custGeom>
              <a:avLst/>
              <a:gdLst/>
              <a:ahLst/>
              <a:cxnLst/>
              <a:rect l="l" t="t" r="r" b="b"/>
              <a:pathLst>
                <a:path w="16610" h="25415" extrusionOk="0">
                  <a:moveTo>
                    <a:pt x="889" y="1"/>
                  </a:moveTo>
                  <a:cubicBezTo>
                    <a:pt x="584" y="1"/>
                    <a:pt x="284" y="67"/>
                    <a:pt x="0" y="267"/>
                  </a:cubicBezTo>
                  <a:cubicBezTo>
                    <a:pt x="134" y="901"/>
                    <a:pt x="401" y="1502"/>
                    <a:pt x="734" y="2069"/>
                  </a:cubicBezTo>
                  <a:cubicBezTo>
                    <a:pt x="2702" y="5471"/>
                    <a:pt x="4737" y="8840"/>
                    <a:pt x="6605" y="12309"/>
                  </a:cubicBezTo>
                  <a:cubicBezTo>
                    <a:pt x="8740" y="16246"/>
                    <a:pt x="11008" y="20115"/>
                    <a:pt x="13210" y="24018"/>
                  </a:cubicBezTo>
                  <a:cubicBezTo>
                    <a:pt x="13410" y="24385"/>
                    <a:pt x="13543" y="24685"/>
                    <a:pt x="13443" y="25085"/>
                  </a:cubicBezTo>
                  <a:cubicBezTo>
                    <a:pt x="13498" y="25140"/>
                    <a:pt x="13575" y="25194"/>
                    <a:pt x="13637" y="25194"/>
                  </a:cubicBezTo>
                  <a:cubicBezTo>
                    <a:pt x="13651" y="25194"/>
                    <a:pt x="13665" y="25191"/>
                    <a:pt x="13677" y="25185"/>
                  </a:cubicBezTo>
                  <a:cubicBezTo>
                    <a:pt x="14066" y="25099"/>
                    <a:pt x="14443" y="25043"/>
                    <a:pt x="14812" y="25043"/>
                  </a:cubicBezTo>
                  <a:cubicBezTo>
                    <a:pt x="15298" y="25043"/>
                    <a:pt x="15772" y="25139"/>
                    <a:pt x="16245" y="25385"/>
                  </a:cubicBezTo>
                  <a:cubicBezTo>
                    <a:pt x="16282" y="25398"/>
                    <a:pt x="16345" y="25414"/>
                    <a:pt x="16406" y="25414"/>
                  </a:cubicBezTo>
                  <a:cubicBezTo>
                    <a:pt x="16511" y="25414"/>
                    <a:pt x="16609" y="25364"/>
                    <a:pt x="16546" y="25152"/>
                  </a:cubicBezTo>
                  <a:cubicBezTo>
                    <a:pt x="16345" y="24852"/>
                    <a:pt x="16145" y="24518"/>
                    <a:pt x="15978" y="24218"/>
                  </a:cubicBezTo>
                  <a:cubicBezTo>
                    <a:pt x="14144" y="21016"/>
                    <a:pt x="12309" y="17847"/>
                    <a:pt x="10541" y="14611"/>
                  </a:cubicBezTo>
                  <a:cubicBezTo>
                    <a:pt x="9207" y="12176"/>
                    <a:pt x="7806" y="9774"/>
                    <a:pt x="6472" y="7339"/>
                  </a:cubicBezTo>
                  <a:cubicBezTo>
                    <a:pt x="5204" y="5104"/>
                    <a:pt x="3903" y="2903"/>
                    <a:pt x="2736" y="601"/>
                  </a:cubicBezTo>
                  <a:cubicBezTo>
                    <a:pt x="2514" y="435"/>
                    <a:pt x="2362" y="85"/>
                    <a:pt x="2030" y="85"/>
                  </a:cubicBezTo>
                  <a:cubicBezTo>
                    <a:pt x="1962" y="85"/>
                    <a:pt x="1887" y="100"/>
                    <a:pt x="1802" y="134"/>
                  </a:cubicBezTo>
                  <a:cubicBezTo>
                    <a:pt x="1501" y="67"/>
                    <a:pt x="1193" y="1"/>
                    <a:pt x="88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4" name="Google Shape;294;p29"/>
            <p:cNvSpPr/>
            <p:nvPr/>
          </p:nvSpPr>
          <p:spPr>
            <a:xfrm>
              <a:off x="9929600" y="1161322"/>
              <a:ext cx="39394" cy="38256"/>
            </a:xfrm>
            <a:custGeom>
              <a:avLst/>
              <a:gdLst/>
              <a:ahLst/>
              <a:cxnLst/>
              <a:rect l="l" t="t" r="r" b="b"/>
              <a:pathLst>
                <a:path w="935" h="908" extrusionOk="0">
                  <a:moveTo>
                    <a:pt x="801" y="0"/>
                  </a:moveTo>
                  <a:cubicBezTo>
                    <a:pt x="534" y="134"/>
                    <a:pt x="167" y="100"/>
                    <a:pt x="1" y="434"/>
                  </a:cubicBezTo>
                  <a:cubicBezTo>
                    <a:pt x="311" y="527"/>
                    <a:pt x="477" y="908"/>
                    <a:pt x="846" y="908"/>
                  </a:cubicBezTo>
                  <a:cubicBezTo>
                    <a:pt x="875" y="908"/>
                    <a:pt x="904" y="906"/>
                    <a:pt x="935" y="901"/>
                  </a:cubicBezTo>
                  <a:lnTo>
                    <a:pt x="801" y="0"/>
                  </a:ln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5" name="Google Shape;295;p29"/>
            <p:cNvSpPr/>
            <p:nvPr/>
          </p:nvSpPr>
          <p:spPr>
            <a:xfrm>
              <a:off x="9751126" y="1747385"/>
              <a:ext cx="1547400" cy="880190"/>
            </a:xfrm>
            <a:custGeom>
              <a:avLst/>
              <a:gdLst/>
              <a:ahLst/>
              <a:cxnLst/>
              <a:rect l="l" t="t" r="r" b="b"/>
              <a:pathLst>
                <a:path w="36727" h="20891" extrusionOk="0">
                  <a:moveTo>
                    <a:pt x="36126" y="0"/>
                  </a:moveTo>
                  <a:cubicBezTo>
                    <a:pt x="35893" y="167"/>
                    <a:pt x="35659" y="334"/>
                    <a:pt x="35426" y="467"/>
                  </a:cubicBezTo>
                  <a:cubicBezTo>
                    <a:pt x="30522" y="3269"/>
                    <a:pt x="25619" y="6071"/>
                    <a:pt x="20648" y="8807"/>
                  </a:cubicBezTo>
                  <a:cubicBezTo>
                    <a:pt x="19514" y="9440"/>
                    <a:pt x="18914" y="10241"/>
                    <a:pt x="18981" y="11542"/>
                  </a:cubicBezTo>
                  <a:cubicBezTo>
                    <a:pt x="18981" y="11575"/>
                    <a:pt x="18981" y="11609"/>
                    <a:pt x="18947" y="11642"/>
                  </a:cubicBezTo>
                  <a:lnTo>
                    <a:pt x="18880" y="11642"/>
                  </a:lnTo>
                  <a:cubicBezTo>
                    <a:pt x="18371" y="11256"/>
                    <a:pt x="17853" y="11082"/>
                    <a:pt x="17325" y="11082"/>
                  </a:cubicBezTo>
                  <a:cubicBezTo>
                    <a:pt x="16850" y="11082"/>
                    <a:pt x="16368" y="11222"/>
                    <a:pt x="15878" y="11475"/>
                  </a:cubicBezTo>
                  <a:cubicBezTo>
                    <a:pt x="15812" y="11542"/>
                    <a:pt x="15745" y="11609"/>
                    <a:pt x="15645" y="11642"/>
                  </a:cubicBezTo>
                  <a:cubicBezTo>
                    <a:pt x="10708" y="14444"/>
                    <a:pt x="5738" y="17246"/>
                    <a:pt x="768" y="20048"/>
                  </a:cubicBezTo>
                  <a:cubicBezTo>
                    <a:pt x="606" y="20140"/>
                    <a:pt x="444" y="20281"/>
                    <a:pt x="260" y="20281"/>
                  </a:cubicBezTo>
                  <a:cubicBezTo>
                    <a:pt x="179" y="20281"/>
                    <a:pt x="93" y="20253"/>
                    <a:pt x="0" y="20181"/>
                  </a:cubicBezTo>
                  <a:lnTo>
                    <a:pt x="0" y="20181"/>
                  </a:lnTo>
                  <a:cubicBezTo>
                    <a:pt x="159" y="20677"/>
                    <a:pt x="353" y="20890"/>
                    <a:pt x="645" y="20890"/>
                  </a:cubicBezTo>
                  <a:cubicBezTo>
                    <a:pt x="845" y="20890"/>
                    <a:pt x="1090" y="20791"/>
                    <a:pt x="1401" y="20615"/>
                  </a:cubicBezTo>
                  <a:cubicBezTo>
                    <a:pt x="6071" y="17947"/>
                    <a:pt x="10741" y="15345"/>
                    <a:pt x="15445" y="12676"/>
                  </a:cubicBezTo>
                  <a:cubicBezTo>
                    <a:pt x="15867" y="12426"/>
                    <a:pt x="16301" y="12298"/>
                    <a:pt x="16746" y="12298"/>
                  </a:cubicBezTo>
                  <a:cubicBezTo>
                    <a:pt x="17073" y="12298"/>
                    <a:pt x="17407" y="12368"/>
                    <a:pt x="17746" y="12509"/>
                  </a:cubicBezTo>
                  <a:cubicBezTo>
                    <a:pt x="17881" y="12559"/>
                    <a:pt x="18029" y="12582"/>
                    <a:pt x="18185" y="12582"/>
                  </a:cubicBezTo>
                  <a:cubicBezTo>
                    <a:pt x="19073" y="12582"/>
                    <a:pt x="20201" y="11831"/>
                    <a:pt x="20315" y="11008"/>
                  </a:cubicBezTo>
                  <a:cubicBezTo>
                    <a:pt x="20448" y="10174"/>
                    <a:pt x="20882" y="9607"/>
                    <a:pt x="21616" y="9207"/>
                  </a:cubicBezTo>
                  <a:cubicBezTo>
                    <a:pt x="26319" y="6572"/>
                    <a:pt x="31022" y="3870"/>
                    <a:pt x="35726" y="1235"/>
                  </a:cubicBezTo>
                  <a:cubicBezTo>
                    <a:pt x="36293" y="934"/>
                    <a:pt x="36727" y="634"/>
                    <a:pt x="36126" y="0"/>
                  </a:cubicBez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6" name="Google Shape;296;p29"/>
            <p:cNvSpPr/>
            <p:nvPr/>
          </p:nvSpPr>
          <p:spPr>
            <a:xfrm>
              <a:off x="9326684" y="1387152"/>
              <a:ext cx="431521" cy="255197"/>
            </a:xfrm>
            <a:custGeom>
              <a:avLst/>
              <a:gdLst/>
              <a:ahLst/>
              <a:cxnLst/>
              <a:rect l="l" t="t" r="r" b="b"/>
              <a:pathLst>
                <a:path w="10242" h="6057" extrusionOk="0">
                  <a:moveTo>
                    <a:pt x="9377" y="0"/>
                  </a:moveTo>
                  <a:cubicBezTo>
                    <a:pt x="9226" y="0"/>
                    <a:pt x="9094" y="84"/>
                    <a:pt x="8974" y="144"/>
                  </a:cubicBezTo>
                  <a:cubicBezTo>
                    <a:pt x="6138" y="1745"/>
                    <a:pt x="3336" y="3313"/>
                    <a:pt x="534" y="4914"/>
                  </a:cubicBezTo>
                  <a:cubicBezTo>
                    <a:pt x="201" y="5115"/>
                    <a:pt x="0" y="5281"/>
                    <a:pt x="234" y="5715"/>
                  </a:cubicBezTo>
                  <a:cubicBezTo>
                    <a:pt x="367" y="5961"/>
                    <a:pt x="499" y="6057"/>
                    <a:pt x="656" y="6057"/>
                  </a:cubicBezTo>
                  <a:cubicBezTo>
                    <a:pt x="776" y="6057"/>
                    <a:pt x="909" y="6002"/>
                    <a:pt x="1068" y="5915"/>
                  </a:cubicBezTo>
                  <a:cubicBezTo>
                    <a:pt x="3903" y="4314"/>
                    <a:pt x="6739" y="2713"/>
                    <a:pt x="9607" y="1145"/>
                  </a:cubicBezTo>
                  <a:cubicBezTo>
                    <a:pt x="10241" y="778"/>
                    <a:pt x="9908" y="445"/>
                    <a:pt x="9707" y="144"/>
                  </a:cubicBezTo>
                  <a:cubicBezTo>
                    <a:pt x="9587" y="38"/>
                    <a:pt x="9478" y="0"/>
                    <a:pt x="937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7" name="Google Shape;297;p29"/>
            <p:cNvSpPr/>
            <p:nvPr/>
          </p:nvSpPr>
          <p:spPr>
            <a:xfrm>
              <a:off x="9758162" y="2067255"/>
              <a:ext cx="572033" cy="327496"/>
            </a:xfrm>
            <a:custGeom>
              <a:avLst/>
              <a:gdLst/>
              <a:ahLst/>
              <a:cxnLst/>
              <a:rect l="l" t="t" r="r" b="b"/>
              <a:pathLst>
                <a:path w="13577" h="7773" extrusionOk="0">
                  <a:moveTo>
                    <a:pt x="13176" y="1"/>
                  </a:moveTo>
                  <a:cubicBezTo>
                    <a:pt x="12903" y="1"/>
                    <a:pt x="12673" y="165"/>
                    <a:pt x="12442" y="281"/>
                  </a:cubicBezTo>
                  <a:cubicBezTo>
                    <a:pt x="8540" y="2482"/>
                    <a:pt x="4603" y="4717"/>
                    <a:pt x="701" y="6919"/>
                  </a:cubicBezTo>
                  <a:cubicBezTo>
                    <a:pt x="500" y="7052"/>
                    <a:pt x="0" y="7119"/>
                    <a:pt x="234" y="7553"/>
                  </a:cubicBezTo>
                  <a:cubicBezTo>
                    <a:pt x="327" y="7715"/>
                    <a:pt x="420" y="7773"/>
                    <a:pt x="511" y="7773"/>
                  </a:cubicBezTo>
                  <a:cubicBezTo>
                    <a:pt x="683" y="7773"/>
                    <a:pt x="849" y="7573"/>
                    <a:pt x="1001" y="7486"/>
                  </a:cubicBezTo>
                  <a:cubicBezTo>
                    <a:pt x="3302" y="6218"/>
                    <a:pt x="5604" y="4917"/>
                    <a:pt x="7906" y="3616"/>
                  </a:cubicBezTo>
                  <a:cubicBezTo>
                    <a:pt x="9574" y="2682"/>
                    <a:pt x="11241" y="1715"/>
                    <a:pt x="12909" y="781"/>
                  </a:cubicBezTo>
                  <a:cubicBezTo>
                    <a:pt x="13210" y="614"/>
                    <a:pt x="13576" y="514"/>
                    <a:pt x="13310" y="14"/>
                  </a:cubicBezTo>
                  <a:cubicBezTo>
                    <a:pt x="13264" y="5"/>
                    <a:pt x="13220" y="1"/>
                    <a:pt x="1317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8" name="Google Shape;298;p29"/>
            <p:cNvSpPr/>
            <p:nvPr/>
          </p:nvSpPr>
          <p:spPr>
            <a:xfrm>
              <a:off x="9721591" y="1990447"/>
              <a:ext cx="566429" cy="327538"/>
            </a:xfrm>
            <a:custGeom>
              <a:avLst/>
              <a:gdLst/>
              <a:ahLst/>
              <a:cxnLst/>
              <a:rect l="l" t="t" r="r" b="b"/>
              <a:pathLst>
                <a:path w="13444" h="7774" extrusionOk="0">
                  <a:moveTo>
                    <a:pt x="12951" y="1"/>
                  </a:moveTo>
                  <a:cubicBezTo>
                    <a:pt x="12789" y="1"/>
                    <a:pt x="12642" y="169"/>
                    <a:pt x="12510" y="236"/>
                  </a:cubicBezTo>
                  <a:cubicBezTo>
                    <a:pt x="9374" y="2004"/>
                    <a:pt x="6205" y="3738"/>
                    <a:pt x="3103" y="5506"/>
                  </a:cubicBezTo>
                  <a:cubicBezTo>
                    <a:pt x="2102" y="6040"/>
                    <a:pt x="1168" y="6607"/>
                    <a:pt x="134" y="7207"/>
                  </a:cubicBezTo>
                  <a:cubicBezTo>
                    <a:pt x="34" y="7307"/>
                    <a:pt x="1" y="7474"/>
                    <a:pt x="134" y="7641"/>
                  </a:cubicBezTo>
                  <a:cubicBezTo>
                    <a:pt x="191" y="7740"/>
                    <a:pt x="260" y="7773"/>
                    <a:pt x="333" y="7773"/>
                  </a:cubicBezTo>
                  <a:cubicBezTo>
                    <a:pt x="432" y="7773"/>
                    <a:pt x="539" y="7713"/>
                    <a:pt x="635" y="7674"/>
                  </a:cubicBezTo>
                  <a:cubicBezTo>
                    <a:pt x="1202" y="7341"/>
                    <a:pt x="1769" y="7041"/>
                    <a:pt x="2336" y="6707"/>
                  </a:cubicBezTo>
                  <a:cubicBezTo>
                    <a:pt x="5838" y="4739"/>
                    <a:pt x="9341" y="2771"/>
                    <a:pt x="12843" y="769"/>
                  </a:cubicBezTo>
                  <a:cubicBezTo>
                    <a:pt x="13043" y="669"/>
                    <a:pt x="13444" y="569"/>
                    <a:pt x="13210" y="169"/>
                  </a:cubicBezTo>
                  <a:cubicBezTo>
                    <a:pt x="13120" y="45"/>
                    <a:pt x="13034" y="1"/>
                    <a:pt x="1295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9" name="Google Shape;299;p29"/>
            <p:cNvSpPr/>
            <p:nvPr/>
          </p:nvSpPr>
          <p:spPr>
            <a:xfrm>
              <a:off x="9804508" y="2140860"/>
              <a:ext cx="570643" cy="327201"/>
            </a:xfrm>
            <a:custGeom>
              <a:avLst/>
              <a:gdLst/>
              <a:ahLst/>
              <a:cxnLst/>
              <a:rect l="l" t="t" r="r" b="b"/>
              <a:pathLst>
                <a:path w="13544" h="7766" extrusionOk="0">
                  <a:moveTo>
                    <a:pt x="13017" y="0"/>
                  </a:moveTo>
                  <a:cubicBezTo>
                    <a:pt x="12834" y="0"/>
                    <a:pt x="12688" y="196"/>
                    <a:pt x="12543" y="268"/>
                  </a:cubicBezTo>
                  <a:cubicBezTo>
                    <a:pt x="8607" y="2470"/>
                    <a:pt x="4671" y="4671"/>
                    <a:pt x="768" y="6906"/>
                  </a:cubicBezTo>
                  <a:cubicBezTo>
                    <a:pt x="501" y="7040"/>
                    <a:pt x="1" y="7173"/>
                    <a:pt x="234" y="7607"/>
                  </a:cubicBezTo>
                  <a:cubicBezTo>
                    <a:pt x="308" y="7723"/>
                    <a:pt x="392" y="7765"/>
                    <a:pt x="479" y="7765"/>
                  </a:cubicBezTo>
                  <a:cubicBezTo>
                    <a:pt x="669" y="7765"/>
                    <a:pt x="875" y="7565"/>
                    <a:pt x="1035" y="7473"/>
                  </a:cubicBezTo>
                  <a:cubicBezTo>
                    <a:pt x="3403" y="6139"/>
                    <a:pt x="5772" y="4838"/>
                    <a:pt x="8107" y="3504"/>
                  </a:cubicBezTo>
                  <a:cubicBezTo>
                    <a:pt x="9674" y="2603"/>
                    <a:pt x="11276" y="1736"/>
                    <a:pt x="12810" y="835"/>
                  </a:cubicBezTo>
                  <a:cubicBezTo>
                    <a:pt x="13077" y="702"/>
                    <a:pt x="13544" y="635"/>
                    <a:pt x="13244" y="101"/>
                  </a:cubicBezTo>
                  <a:cubicBezTo>
                    <a:pt x="13161" y="28"/>
                    <a:pt x="13086" y="0"/>
                    <a:pt x="1301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0" name="Google Shape;300;p29"/>
            <p:cNvSpPr/>
            <p:nvPr/>
          </p:nvSpPr>
          <p:spPr>
            <a:xfrm>
              <a:off x="9676636" y="1968749"/>
              <a:ext cx="493329" cy="271755"/>
            </a:xfrm>
            <a:custGeom>
              <a:avLst/>
              <a:gdLst/>
              <a:ahLst/>
              <a:cxnLst/>
              <a:rect l="l" t="t" r="r" b="b"/>
              <a:pathLst>
                <a:path w="11709" h="6450" extrusionOk="0">
                  <a:moveTo>
                    <a:pt x="10968" y="1"/>
                  </a:moveTo>
                  <a:cubicBezTo>
                    <a:pt x="10835" y="1"/>
                    <a:pt x="10703" y="15"/>
                    <a:pt x="10575" y="50"/>
                  </a:cubicBezTo>
                  <a:cubicBezTo>
                    <a:pt x="7272" y="1918"/>
                    <a:pt x="3970" y="3786"/>
                    <a:pt x="668" y="5654"/>
                  </a:cubicBezTo>
                  <a:cubicBezTo>
                    <a:pt x="434" y="5788"/>
                    <a:pt x="0" y="5888"/>
                    <a:pt x="234" y="6288"/>
                  </a:cubicBezTo>
                  <a:cubicBezTo>
                    <a:pt x="293" y="6406"/>
                    <a:pt x="373" y="6449"/>
                    <a:pt x="461" y="6449"/>
                  </a:cubicBezTo>
                  <a:cubicBezTo>
                    <a:pt x="621" y="6449"/>
                    <a:pt x="805" y="6307"/>
                    <a:pt x="934" y="6221"/>
                  </a:cubicBezTo>
                  <a:cubicBezTo>
                    <a:pt x="4537" y="4186"/>
                    <a:pt x="8140" y="2152"/>
                    <a:pt x="11709" y="117"/>
                  </a:cubicBezTo>
                  <a:cubicBezTo>
                    <a:pt x="11470" y="52"/>
                    <a:pt x="11217" y="1"/>
                    <a:pt x="1096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1" name="Google Shape;301;p29"/>
            <p:cNvSpPr/>
            <p:nvPr/>
          </p:nvSpPr>
          <p:spPr>
            <a:xfrm>
              <a:off x="9631639" y="1907615"/>
              <a:ext cx="438557" cy="259831"/>
            </a:xfrm>
            <a:custGeom>
              <a:avLst/>
              <a:gdLst/>
              <a:ahLst/>
              <a:cxnLst/>
              <a:rect l="l" t="t" r="r" b="b"/>
              <a:pathLst>
                <a:path w="10409" h="6167" extrusionOk="0">
                  <a:moveTo>
                    <a:pt x="10041" y="0"/>
                  </a:moveTo>
                  <a:cubicBezTo>
                    <a:pt x="8107" y="1101"/>
                    <a:pt x="6205" y="2202"/>
                    <a:pt x="4304" y="3302"/>
                  </a:cubicBezTo>
                  <a:cubicBezTo>
                    <a:pt x="3036" y="4003"/>
                    <a:pt x="1769" y="4737"/>
                    <a:pt x="501" y="5437"/>
                  </a:cubicBezTo>
                  <a:cubicBezTo>
                    <a:pt x="268" y="5571"/>
                    <a:pt x="1" y="5671"/>
                    <a:pt x="201" y="6004"/>
                  </a:cubicBezTo>
                  <a:cubicBezTo>
                    <a:pt x="273" y="6125"/>
                    <a:pt x="346" y="6167"/>
                    <a:pt x="419" y="6167"/>
                  </a:cubicBezTo>
                  <a:cubicBezTo>
                    <a:pt x="550" y="6167"/>
                    <a:pt x="686" y="6035"/>
                    <a:pt x="835" y="5971"/>
                  </a:cubicBezTo>
                  <a:cubicBezTo>
                    <a:pt x="1068" y="5838"/>
                    <a:pt x="1302" y="5704"/>
                    <a:pt x="1569" y="5571"/>
                  </a:cubicBezTo>
                  <a:lnTo>
                    <a:pt x="10408" y="634"/>
                  </a:lnTo>
                  <a:cubicBezTo>
                    <a:pt x="10275" y="434"/>
                    <a:pt x="10142" y="234"/>
                    <a:pt x="1004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2" name="Google Shape;302;p29"/>
            <p:cNvSpPr/>
            <p:nvPr/>
          </p:nvSpPr>
          <p:spPr>
            <a:xfrm>
              <a:off x="9418027" y="1532341"/>
              <a:ext cx="437125" cy="258651"/>
            </a:xfrm>
            <a:custGeom>
              <a:avLst/>
              <a:gdLst/>
              <a:ahLst/>
              <a:cxnLst/>
              <a:rect l="l" t="t" r="r" b="b"/>
              <a:pathLst>
                <a:path w="10375" h="6139" extrusionOk="0">
                  <a:moveTo>
                    <a:pt x="10075" y="1"/>
                  </a:moveTo>
                  <a:cubicBezTo>
                    <a:pt x="6906" y="1769"/>
                    <a:pt x="3737" y="3570"/>
                    <a:pt x="601" y="5338"/>
                  </a:cubicBezTo>
                  <a:cubicBezTo>
                    <a:pt x="368" y="5471"/>
                    <a:pt x="1" y="5571"/>
                    <a:pt x="234" y="5938"/>
                  </a:cubicBezTo>
                  <a:cubicBezTo>
                    <a:pt x="321" y="6087"/>
                    <a:pt x="407" y="6139"/>
                    <a:pt x="494" y="6139"/>
                  </a:cubicBezTo>
                  <a:cubicBezTo>
                    <a:pt x="641" y="6139"/>
                    <a:pt x="788" y="5989"/>
                    <a:pt x="935" y="5905"/>
                  </a:cubicBezTo>
                  <a:cubicBezTo>
                    <a:pt x="4070" y="4104"/>
                    <a:pt x="7239" y="2336"/>
                    <a:pt x="10375" y="534"/>
                  </a:cubicBezTo>
                  <a:cubicBezTo>
                    <a:pt x="10275" y="368"/>
                    <a:pt x="10175" y="167"/>
                    <a:pt x="1007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3" name="Google Shape;303;p29"/>
            <p:cNvSpPr/>
            <p:nvPr/>
          </p:nvSpPr>
          <p:spPr>
            <a:xfrm>
              <a:off x="9547331" y="1758634"/>
              <a:ext cx="437125" cy="255997"/>
            </a:xfrm>
            <a:custGeom>
              <a:avLst/>
              <a:gdLst/>
              <a:ahLst/>
              <a:cxnLst/>
              <a:rect l="l" t="t" r="r" b="b"/>
              <a:pathLst>
                <a:path w="10375" h="6076" extrusionOk="0">
                  <a:moveTo>
                    <a:pt x="10041" y="0"/>
                  </a:moveTo>
                  <a:cubicBezTo>
                    <a:pt x="6905" y="1768"/>
                    <a:pt x="3770" y="3536"/>
                    <a:pt x="634" y="5304"/>
                  </a:cubicBezTo>
                  <a:cubicBezTo>
                    <a:pt x="401" y="5437"/>
                    <a:pt x="1" y="5538"/>
                    <a:pt x="234" y="5904"/>
                  </a:cubicBezTo>
                  <a:cubicBezTo>
                    <a:pt x="310" y="6031"/>
                    <a:pt x="400" y="6076"/>
                    <a:pt x="495" y="6076"/>
                  </a:cubicBezTo>
                  <a:cubicBezTo>
                    <a:pt x="652" y="6076"/>
                    <a:pt x="823" y="5954"/>
                    <a:pt x="968" y="5871"/>
                  </a:cubicBezTo>
                  <a:cubicBezTo>
                    <a:pt x="4103" y="4070"/>
                    <a:pt x="7239" y="2335"/>
                    <a:pt x="10375" y="567"/>
                  </a:cubicBezTo>
                  <a:lnTo>
                    <a:pt x="10041"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4" name="Google Shape;304;p29"/>
            <p:cNvSpPr/>
            <p:nvPr/>
          </p:nvSpPr>
          <p:spPr>
            <a:xfrm>
              <a:off x="9460201" y="1606831"/>
              <a:ext cx="437125" cy="258314"/>
            </a:xfrm>
            <a:custGeom>
              <a:avLst/>
              <a:gdLst/>
              <a:ahLst/>
              <a:cxnLst/>
              <a:rect l="l" t="t" r="r" b="b"/>
              <a:pathLst>
                <a:path w="10375" h="6131" extrusionOk="0">
                  <a:moveTo>
                    <a:pt x="10041" y="1"/>
                  </a:moveTo>
                  <a:cubicBezTo>
                    <a:pt x="8807" y="701"/>
                    <a:pt x="7572" y="1402"/>
                    <a:pt x="6338" y="2102"/>
                  </a:cubicBezTo>
                  <a:cubicBezTo>
                    <a:pt x="4437" y="3170"/>
                    <a:pt x="2502" y="4270"/>
                    <a:pt x="601" y="5338"/>
                  </a:cubicBezTo>
                  <a:cubicBezTo>
                    <a:pt x="401" y="5471"/>
                    <a:pt x="0" y="5571"/>
                    <a:pt x="234" y="5938"/>
                  </a:cubicBezTo>
                  <a:cubicBezTo>
                    <a:pt x="317" y="6081"/>
                    <a:pt x="400" y="6130"/>
                    <a:pt x="484" y="6130"/>
                  </a:cubicBezTo>
                  <a:cubicBezTo>
                    <a:pt x="634" y="6130"/>
                    <a:pt x="784" y="5969"/>
                    <a:pt x="934" y="5905"/>
                  </a:cubicBezTo>
                  <a:cubicBezTo>
                    <a:pt x="1535" y="5571"/>
                    <a:pt x="2169" y="5238"/>
                    <a:pt x="2802" y="4871"/>
                  </a:cubicBezTo>
                  <a:cubicBezTo>
                    <a:pt x="5304" y="3436"/>
                    <a:pt x="7839" y="1969"/>
                    <a:pt x="10374" y="534"/>
                  </a:cubicBezTo>
                  <a:cubicBezTo>
                    <a:pt x="10241" y="334"/>
                    <a:pt x="10141" y="167"/>
                    <a:pt x="1004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5" name="Google Shape;305;p29"/>
            <p:cNvSpPr/>
            <p:nvPr/>
          </p:nvSpPr>
          <p:spPr>
            <a:xfrm>
              <a:off x="9506589" y="1681321"/>
              <a:ext cx="435692" cy="257219"/>
            </a:xfrm>
            <a:custGeom>
              <a:avLst/>
              <a:gdLst/>
              <a:ahLst/>
              <a:cxnLst/>
              <a:rect l="l" t="t" r="r" b="b"/>
              <a:pathLst>
                <a:path w="10341" h="6105" extrusionOk="0">
                  <a:moveTo>
                    <a:pt x="9941" y="1"/>
                  </a:moveTo>
                  <a:cubicBezTo>
                    <a:pt x="9807" y="67"/>
                    <a:pt x="9707" y="167"/>
                    <a:pt x="9574" y="234"/>
                  </a:cubicBezTo>
                  <a:cubicBezTo>
                    <a:pt x="6605" y="1935"/>
                    <a:pt x="3636" y="3603"/>
                    <a:pt x="701" y="5304"/>
                  </a:cubicBezTo>
                  <a:cubicBezTo>
                    <a:pt x="434" y="5438"/>
                    <a:pt x="0" y="5571"/>
                    <a:pt x="234" y="5938"/>
                  </a:cubicBezTo>
                  <a:cubicBezTo>
                    <a:pt x="312" y="6060"/>
                    <a:pt x="397" y="6105"/>
                    <a:pt x="486" y="6105"/>
                  </a:cubicBezTo>
                  <a:cubicBezTo>
                    <a:pt x="664" y="6105"/>
                    <a:pt x="856" y="5927"/>
                    <a:pt x="1034" y="5838"/>
                  </a:cubicBezTo>
                  <a:cubicBezTo>
                    <a:pt x="4136" y="4103"/>
                    <a:pt x="7239" y="2369"/>
                    <a:pt x="10341" y="634"/>
                  </a:cubicBezTo>
                  <a:lnTo>
                    <a:pt x="9941"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6" name="Google Shape;306;p29"/>
            <p:cNvSpPr/>
            <p:nvPr/>
          </p:nvSpPr>
          <p:spPr>
            <a:xfrm>
              <a:off x="9588074" y="1833124"/>
              <a:ext cx="437125" cy="259915"/>
            </a:xfrm>
            <a:custGeom>
              <a:avLst/>
              <a:gdLst/>
              <a:ahLst/>
              <a:cxnLst/>
              <a:rect l="l" t="t" r="r" b="b"/>
              <a:pathLst>
                <a:path w="10375" h="6169" extrusionOk="0">
                  <a:moveTo>
                    <a:pt x="10075" y="0"/>
                  </a:moveTo>
                  <a:cubicBezTo>
                    <a:pt x="9574" y="300"/>
                    <a:pt x="9107" y="567"/>
                    <a:pt x="8607" y="834"/>
                  </a:cubicBezTo>
                  <a:cubicBezTo>
                    <a:pt x="5972" y="2335"/>
                    <a:pt x="3337" y="3836"/>
                    <a:pt x="701" y="5337"/>
                  </a:cubicBezTo>
                  <a:cubicBezTo>
                    <a:pt x="468" y="5471"/>
                    <a:pt x="1" y="5537"/>
                    <a:pt x="234" y="5971"/>
                  </a:cubicBezTo>
                  <a:cubicBezTo>
                    <a:pt x="314" y="6117"/>
                    <a:pt x="399" y="6168"/>
                    <a:pt x="485" y="6168"/>
                  </a:cubicBezTo>
                  <a:cubicBezTo>
                    <a:pt x="615" y="6168"/>
                    <a:pt x="748" y="6051"/>
                    <a:pt x="868" y="5971"/>
                  </a:cubicBezTo>
                  <a:lnTo>
                    <a:pt x="10375" y="567"/>
                  </a:lnTo>
                  <a:lnTo>
                    <a:pt x="10075"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7" name="Google Shape;307;p29"/>
            <p:cNvSpPr/>
            <p:nvPr/>
          </p:nvSpPr>
          <p:spPr>
            <a:xfrm>
              <a:off x="9375852" y="1471754"/>
              <a:ext cx="413236" cy="244621"/>
            </a:xfrm>
            <a:custGeom>
              <a:avLst/>
              <a:gdLst/>
              <a:ahLst/>
              <a:cxnLst/>
              <a:rect l="l" t="t" r="r" b="b"/>
              <a:pathLst>
                <a:path w="9808" h="5806" extrusionOk="0">
                  <a:moveTo>
                    <a:pt x="9392" y="0"/>
                  </a:moveTo>
                  <a:cubicBezTo>
                    <a:pt x="9206" y="0"/>
                    <a:pt x="9010" y="237"/>
                    <a:pt x="8874" y="305"/>
                  </a:cubicBezTo>
                  <a:cubicBezTo>
                    <a:pt x="6339" y="1739"/>
                    <a:pt x="3804" y="3140"/>
                    <a:pt x="1269" y="4574"/>
                  </a:cubicBezTo>
                  <a:cubicBezTo>
                    <a:pt x="902" y="4774"/>
                    <a:pt x="568" y="5008"/>
                    <a:pt x="234" y="5208"/>
                  </a:cubicBezTo>
                  <a:cubicBezTo>
                    <a:pt x="1" y="5341"/>
                    <a:pt x="68" y="5508"/>
                    <a:pt x="201" y="5675"/>
                  </a:cubicBezTo>
                  <a:cubicBezTo>
                    <a:pt x="275" y="5770"/>
                    <a:pt x="346" y="5805"/>
                    <a:pt x="414" y="5805"/>
                  </a:cubicBezTo>
                  <a:cubicBezTo>
                    <a:pt x="562" y="5805"/>
                    <a:pt x="698" y="5643"/>
                    <a:pt x="835" y="5575"/>
                  </a:cubicBezTo>
                  <a:cubicBezTo>
                    <a:pt x="3604" y="4007"/>
                    <a:pt x="6406" y="2439"/>
                    <a:pt x="9174" y="905"/>
                  </a:cubicBezTo>
                  <a:cubicBezTo>
                    <a:pt x="9441" y="738"/>
                    <a:pt x="9808" y="571"/>
                    <a:pt x="9641" y="204"/>
                  </a:cubicBezTo>
                  <a:cubicBezTo>
                    <a:pt x="9566" y="54"/>
                    <a:pt x="9480" y="0"/>
                    <a:pt x="939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8" name="Google Shape;308;p29"/>
            <p:cNvSpPr/>
            <p:nvPr/>
          </p:nvSpPr>
          <p:spPr>
            <a:xfrm>
              <a:off x="9699135" y="1217526"/>
              <a:ext cx="520041" cy="765295"/>
            </a:xfrm>
            <a:custGeom>
              <a:avLst/>
              <a:gdLst/>
              <a:ahLst/>
              <a:cxnLst/>
              <a:rect l="l" t="t" r="r" b="b"/>
              <a:pathLst>
                <a:path w="12343" h="18164" extrusionOk="0">
                  <a:moveTo>
                    <a:pt x="2268" y="1"/>
                  </a:moveTo>
                  <a:cubicBezTo>
                    <a:pt x="1468" y="368"/>
                    <a:pt x="701" y="768"/>
                    <a:pt x="0" y="1302"/>
                  </a:cubicBezTo>
                  <a:cubicBezTo>
                    <a:pt x="1668" y="4737"/>
                    <a:pt x="3536" y="8307"/>
                    <a:pt x="5704" y="12009"/>
                  </a:cubicBezTo>
                  <a:cubicBezTo>
                    <a:pt x="6772" y="13777"/>
                    <a:pt x="7806" y="15512"/>
                    <a:pt x="8873" y="17146"/>
                  </a:cubicBezTo>
                  <a:cubicBezTo>
                    <a:pt x="9040" y="17346"/>
                    <a:pt x="9574" y="17947"/>
                    <a:pt x="10541" y="18114"/>
                  </a:cubicBezTo>
                  <a:cubicBezTo>
                    <a:pt x="10730" y="18149"/>
                    <a:pt x="10911" y="18163"/>
                    <a:pt x="11079" y="18163"/>
                  </a:cubicBezTo>
                  <a:cubicBezTo>
                    <a:pt x="11714" y="18163"/>
                    <a:pt x="12184" y="17959"/>
                    <a:pt x="12342" y="17880"/>
                  </a:cubicBezTo>
                  <a:cubicBezTo>
                    <a:pt x="8973" y="11909"/>
                    <a:pt x="5604" y="5972"/>
                    <a:pt x="2268"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Tree>
    <p:extLst>
      <p:ext uri="{BB962C8B-B14F-4D97-AF65-F5344CB8AC3E}">
        <p14:creationId xmlns:p14="http://schemas.microsoft.com/office/powerpoint/2010/main" val="10938679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312"/>
        <p:cNvGrpSpPr/>
        <p:nvPr/>
      </p:nvGrpSpPr>
      <p:grpSpPr>
        <a:xfrm>
          <a:off x="0" y="0"/>
          <a:ext cx="0" cy="0"/>
          <a:chOff x="0" y="0"/>
          <a:chExt cx="0" cy="0"/>
        </a:xfrm>
      </p:grpSpPr>
      <p:sp>
        <p:nvSpPr>
          <p:cNvPr id="313" name="Google Shape;313;p30"/>
          <p:cNvSpPr txBox="1">
            <a:spLocks noGrp="1"/>
          </p:cNvSpPr>
          <p:nvPr>
            <p:ph type="title"/>
          </p:nvPr>
        </p:nvSpPr>
        <p:spPr>
          <a:xfrm>
            <a:off x="952167" y="3"/>
            <a:ext cx="10287600" cy="1213200"/>
          </a:xfrm>
          <a:prstGeom prst="rect">
            <a:avLst/>
          </a:prstGeom>
        </p:spPr>
        <p:txBody>
          <a:bodyPr spcFirstLastPara="1" wrap="square" lIns="121900" tIns="121900" rIns="121900" bIns="121900" anchor="ctr" anchorCtr="0">
            <a:noAutofit/>
          </a:bodyPr>
          <a:lstStyle/>
          <a:p>
            <a:pPr algn="l">
              <a:lnSpc>
                <a:spcPct val="150000"/>
              </a:lnSpc>
            </a:pPr>
            <a:endParaRPr/>
          </a:p>
          <a:p>
            <a:pPr algn="l">
              <a:lnSpc>
                <a:spcPct val="150000"/>
              </a:lnSpc>
              <a:spcBef>
                <a:spcPts val="1600"/>
              </a:spcBef>
              <a:spcAft>
                <a:spcPts val="1600"/>
              </a:spcAft>
            </a:pPr>
            <a:r>
              <a:rPr lang="en" sz="3333"/>
              <a:t>Housing &amp; Facilities Improvement Initiative</a:t>
            </a:r>
            <a:endParaRPr sz="3333"/>
          </a:p>
        </p:txBody>
      </p:sp>
      <p:sp>
        <p:nvSpPr>
          <p:cNvPr id="314" name="Google Shape;314;p30"/>
          <p:cNvSpPr txBox="1">
            <a:spLocks noGrp="1"/>
          </p:cNvSpPr>
          <p:nvPr>
            <p:ph type="subTitle" idx="1"/>
          </p:nvPr>
        </p:nvSpPr>
        <p:spPr>
          <a:xfrm>
            <a:off x="8006333" y="2330767"/>
            <a:ext cx="3759600" cy="3282000"/>
          </a:xfrm>
          <a:prstGeom prst="rect">
            <a:avLst/>
          </a:prstGeom>
        </p:spPr>
        <p:txBody>
          <a:bodyPr spcFirstLastPara="1" wrap="square" lIns="121900" tIns="121900" rIns="121900" bIns="121900" anchor="ctr" anchorCtr="0">
            <a:noAutofit/>
          </a:bodyPr>
          <a:lstStyle/>
          <a:p>
            <a:pPr marL="609585" indent="0" algn="l"/>
            <a:endParaRPr/>
          </a:p>
          <a:p>
            <a:pPr marL="609585" indent="-457189" algn="l">
              <a:spcBef>
                <a:spcPts val="1333"/>
              </a:spcBef>
              <a:buChar char="-"/>
            </a:pPr>
            <a:r>
              <a:rPr lang="en"/>
              <a:t>Make moves towards establishing a Canada Housing Plan</a:t>
            </a:r>
            <a:endParaRPr/>
          </a:p>
          <a:p>
            <a:pPr marL="609585" indent="-423323" algn="l">
              <a:spcBef>
                <a:spcPts val="1333"/>
              </a:spcBef>
              <a:buSzPts val="1400"/>
              <a:buChar char="-"/>
            </a:pPr>
            <a:r>
              <a:rPr lang="en"/>
              <a:t>Secure Housing for Students</a:t>
            </a:r>
            <a:endParaRPr/>
          </a:p>
          <a:p>
            <a:pPr marL="609585" indent="-423323" algn="l">
              <a:spcBef>
                <a:spcPts val="1333"/>
              </a:spcBef>
              <a:buSzPts val="1400"/>
              <a:buChar char="-"/>
            </a:pPr>
            <a:r>
              <a:rPr lang="en"/>
              <a:t>Alleviate Housing insecurity on campus </a:t>
            </a:r>
            <a:endParaRPr/>
          </a:p>
          <a:p>
            <a:pPr marL="609585" indent="0">
              <a:spcBef>
                <a:spcPts val="1333"/>
              </a:spcBef>
            </a:pPr>
            <a:endParaRPr/>
          </a:p>
        </p:txBody>
      </p:sp>
      <p:sp>
        <p:nvSpPr>
          <p:cNvPr id="315" name="Google Shape;315;p30"/>
          <p:cNvSpPr txBox="1">
            <a:spLocks noGrp="1"/>
          </p:cNvSpPr>
          <p:nvPr>
            <p:ph type="title" idx="2"/>
          </p:nvPr>
        </p:nvSpPr>
        <p:spPr>
          <a:xfrm>
            <a:off x="8568468" y="1896041"/>
            <a:ext cx="2548800" cy="487600"/>
          </a:xfrm>
          <a:prstGeom prst="rect">
            <a:avLst/>
          </a:prstGeom>
        </p:spPr>
        <p:txBody>
          <a:bodyPr spcFirstLastPara="1" wrap="square" lIns="121900" tIns="121900" rIns="121900" bIns="121900" anchor="ctr" anchorCtr="0">
            <a:noAutofit/>
          </a:bodyPr>
          <a:lstStyle/>
          <a:p>
            <a:pPr marL="609585" algn="l"/>
            <a:r>
              <a:rPr lang="en"/>
              <a:t>Goals:</a:t>
            </a:r>
            <a:endParaRPr/>
          </a:p>
        </p:txBody>
      </p:sp>
      <p:sp>
        <p:nvSpPr>
          <p:cNvPr id="316" name="Google Shape;316;p30"/>
          <p:cNvSpPr txBox="1">
            <a:spLocks noGrp="1"/>
          </p:cNvSpPr>
          <p:nvPr>
            <p:ph type="subTitle" idx="5"/>
          </p:nvPr>
        </p:nvSpPr>
        <p:spPr>
          <a:xfrm>
            <a:off x="4224733" y="2164633"/>
            <a:ext cx="3845600" cy="3665600"/>
          </a:xfrm>
          <a:prstGeom prst="rect">
            <a:avLst/>
          </a:prstGeom>
        </p:spPr>
        <p:txBody>
          <a:bodyPr spcFirstLastPara="1" wrap="square" lIns="121900" tIns="121900" rIns="121900" bIns="121900" anchor="ctr" anchorCtr="0">
            <a:noAutofit/>
          </a:bodyPr>
          <a:lstStyle/>
          <a:p>
            <a:pPr marL="609585" indent="0" algn="ctr"/>
            <a:endParaRPr/>
          </a:p>
          <a:p>
            <a:pPr marL="609585" indent="-423323" algn="l">
              <a:buSzPts val="1400"/>
              <a:buChar char="-"/>
            </a:pPr>
            <a:r>
              <a:rPr lang="en"/>
              <a:t>Identify and inquire about vacant college dormitories in the area</a:t>
            </a:r>
            <a:endParaRPr/>
          </a:p>
          <a:p>
            <a:pPr marL="609585" indent="-423323" algn="l">
              <a:spcBef>
                <a:spcPts val="1333"/>
              </a:spcBef>
              <a:buSzPts val="1400"/>
              <a:buChar char="-"/>
            </a:pPr>
            <a:r>
              <a:rPr lang="en"/>
              <a:t>Assess how many students require housing by working with cross campus partners</a:t>
            </a:r>
            <a:endParaRPr/>
          </a:p>
          <a:p>
            <a:pPr marL="609585" indent="-423323" algn="l">
              <a:spcBef>
                <a:spcPts val="1333"/>
              </a:spcBef>
              <a:spcAft>
                <a:spcPts val="1333"/>
              </a:spcAft>
              <a:buSzPts val="1400"/>
              <a:buChar char="-"/>
            </a:pPr>
            <a:r>
              <a:rPr lang="en"/>
              <a:t>Look for sponsors or make housing scholarships</a:t>
            </a:r>
            <a:endParaRPr/>
          </a:p>
        </p:txBody>
      </p:sp>
      <p:grpSp>
        <p:nvGrpSpPr>
          <p:cNvPr id="317" name="Google Shape;317;p30"/>
          <p:cNvGrpSpPr/>
          <p:nvPr/>
        </p:nvGrpSpPr>
        <p:grpSpPr>
          <a:xfrm>
            <a:off x="64257" y="1299717"/>
            <a:ext cx="4160491" cy="4833001"/>
            <a:chOff x="9144000" y="840363"/>
            <a:chExt cx="1618700" cy="1880350"/>
          </a:xfrm>
        </p:grpSpPr>
        <p:sp>
          <p:nvSpPr>
            <p:cNvPr id="318" name="Google Shape;318;p30"/>
            <p:cNvSpPr/>
            <p:nvPr/>
          </p:nvSpPr>
          <p:spPr>
            <a:xfrm>
              <a:off x="10502475" y="1331363"/>
              <a:ext cx="88425" cy="92575"/>
            </a:xfrm>
            <a:custGeom>
              <a:avLst/>
              <a:gdLst/>
              <a:ahLst/>
              <a:cxnLst/>
              <a:rect l="l" t="t" r="r" b="b"/>
              <a:pathLst>
                <a:path w="3537" h="3703" extrusionOk="0">
                  <a:moveTo>
                    <a:pt x="1435" y="0"/>
                  </a:moveTo>
                  <a:cubicBezTo>
                    <a:pt x="1368" y="901"/>
                    <a:pt x="935" y="1501"/>
                    <a:pt x="1" y="1668"/>
                  </a:cubicBezTo>
                  <a:cubicBezTo>
                    <a:pt x="34" y="1768"/>
                    <a:pt x="67" y="1868"/>
                    <a:pt x="67" y="2002"/>
                  </a:cubicBezTo>
                  <a:cubicBezTo>
                    <a:pt x="701" y="2068"/>
                    <a:pt x="1068" y="2469"/>
                    <a:pt x="1235" y="3036"/>
                  </a:cubicBezTo>
                  <a:lnTo>
                    <a:pt x="1235" y="3069"/>
                  </a:lnTo>
                  <a:cubicBezTo>
                    <a:pt x="1268" y="3136"/>
                    <a:pt x="1335" y="3236"/>
                    <a:pt x="1368" y="3336"/>
                  </a:cubicBezTo>
                  <a:cubicBezTo>
                    <a:pt x="1402" y="3469"/>
                    <a:pt x="1402" y="3569"/>
                    <a:pt x="1435" y="3703"/>
                  </a:cubicBezTo>
                  <a:cubicBezTo>
                    <a:pt x="2069" y="3136"/>
                    <a:pt x="2269" y="2135"/>
                    <a:pt x="3537" y="1802"/>
                  </a:cubicBezTo>
                  <a:cubicBezTo>
                    <a:pt x="2236" y="1535"/>
                    <a:pt x="2102" y="501"/>
                    <a:pt x="1435" y="34"/>
                  </a:cubicBezTo>
                  <a:lnTo>
                    <a:pt x="1435" y="0"/>
                  </a:ln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9" name="Google Shape;319;p30"/>
            <p:cNvSpPr/>
            <p:nvPr/>
          </p:nvSpPr>
          <p:spPr>
            <a:xfrm>
              <a:off x="9305800" y="1579038"/>
              <a:ext cx="944025" cy="894825"/>
            </a:xfrm>
            <a:custGeom>
              <a:avLst/>
              <a:gdLst/>
              <a:ahLst/>
              <a:cxnLst/>
              <a:rect l="l" t="t" r="r" b="b"/>
              <a:pathLst>
                <a:path w="37761" h="35793" extrusionOk="0">
                  <a:moveTo>
                    <a:pt x="12303" y="1"/>
                  </a:moveTo>
                  <a:cubicBezTo>
                    <a:pt x="11948" y="1"/>
                    <a:pt x="11639" y="246"/>
                    <a:pt x="11275" y="667"/>
                  </a:cubicBezTo>
                  <a:cubicBezTo>
                    <a:pt x="9173" y="3169"/>
                    <a:pt x="7005" y="5638"/>
                    <a:pt x="4904" y="8139"/>
                  </a:cubicBezTo>
                  <a:cubicBezTo>
                    <a:pt x="3236" y="10074"/>
                    <a:pt x="1401" y="11809"/>
                    <a:pt x="0" y="13944"/>
                  </a:cubicBezTo>
                  <a:cubicBezTo>
                    <a:pt x="400" y="14978"/>
                    <a:pt x="1334" y="15545"/>
                    <a:pt x="2102" y="16212"/>
                  </a:cubicBezTo>
                  <a:cubicBezTo>
                    <a:pt x="9507" y="22383"/>
                    <a:pt x="16846" y="28688"/>
                    <a:pt x="24251" y="34859"/>
                  </a:cubicBezTo>
                  <a:cubicBezTo>
                    <a:pt x="24718" y="35125"/>
                    <a:pt x="24985" y="35659"/>
                    <a:pt x="25518" y="35793"/>
                  </a:cubicBezTo>
                  <a:cubicBezTo>
                    <a:pt x="26085" y="35726"/>
                    <a:pt x="26352" y="35292"/>
                    <a:pt x="26686" y="34925"/>
                  </a:cubicBezTo>
                  <a:cubicBezTo>
                    <a:pt x="29354" y="31957"/>
                    <a:pt x="31956" y="28888"/>
                    <a:pt x="34558" y="25852"/>
                  </a:cubicBezTo>
                  <a:cubicBezTo>
                    <a:pt x="35626" y="24618"/>
                    <a:pt x="36960" y="23584"/>
                    <a:pt x="37527" y="21983"/>
                  </a:cubicBezTo>
                  <a:cubicBezTo>
                    <a:pt x="37760" y="21382"/>
                    <a:pt x="37527" y="20982"/>
                    <a:pt x="37060" y="20582"/>
                  </a:cubicBezTo>
                  <a:cubicBezTo>
                    <a:pt x="29088" y="13877"/>
                    <a:pt x="21149" y="7139"/>
                    <a:pt x="13210" y="434"/>
                  </a:cubicBezTo>
                  <a:cubicBezTo>
                    <a:pt x="12854" y="136"/>
                    <a:pt x="12566" y="1"/>
                    <a:pt x="12303"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0" name="Google Shape;320;p30"/>
            <p:cNvSpPr/>
            <p:nvPr/>
          </p:nvSpPr>
          <p:spPr>
            <a:xfrm>
              <a:off x="9144000" y="1927613"/>
              <a:ext cx="782250" cy="735550"/>
            </a:xfrm>
            <a:custGeom>
              <a:avLst/>
              <a:gdLst/>
              <a:ahLst/>
              <a:cxnLst/>
              <a:rect l="l" t="t" r="r" b="b"/>
              <a:pathLst>
                <a:path w="31290" h="29422" extrusionOk="0">
                  <a:moveTo>
                    <a:pt x="6472" y="1"/>
                  </a:moveTo>
                  <a:cubicBezTo>
                    <a:pt x="6239" y="201"/>
                    <a:pt x="5938" y="368"/>
                    <a:pt x="5738" y="601"/>
                  </a:cubicBezTo>
                  <a:cubicBezTo>
                    <a:pt x="4337" y="2202"/>
                    <a:pt x="3070" y="3903"/>
                    <a:pt x="1602" y="5404"/>
                  </a:cubicBezTo>
                  <a:cubicBezTo>
                    <a:pt x="1" y="7072"/>
                    <a:pt x="134" y="8140"/>
                    <a:pt x="1836" y="9674"/>
                  </a:cubicBezTo>
                  <a:cubicBezTo>
                    <a:pt x="2903" y="10608"/>
                    <a:pt x="4004" y="11476"/>
                    <a:pt x="5071" y="12376"/>
                  </a:cubicBezTo>
                  <a:cubicBezTo>
                    <a:pt x="7573" y="14478"/>
                    <a:pt x="10108" y="16546"/>
                    <a:pt x="12543" y="18681"/>
                  </a:cubicBezTo>
                  <a:cubicBezTo>
                    <a:pt x="14378" y="20315"/>
                    <a:pt x="16346" y="21816"/>
                    <a:pt x="18181" y="23384"/>
                  </a:cubicBezTo>
                  <a:cubicBezTo>
                    <a:pt x="20582" y="25452"/>
                    <a:pt x="22884" y="27587"/>
                    <a:pt x="25486" y="29422"/>
                  </a:cubicBezTo>
                  <a:cubicBezTo>
                    <a:pt x="25853" y="27520"/>
                    <a:pt x="27020" y="26086"/>
                    <a:pt x="28354" y="24785"/>
                  </a:cubicBezTo>
                  <a:cubicBezTo>
                    <a:pt x="29255" y="23918"/>
                    <a:pt x="29922" y="22884"/>
                    <a:pt x="30689" y="21916"/>
                  </a:cubicBezTo>
                  <a:cubicBezTo>
                    <a:pt x="30990" y="21583"/>
                    <a:pt x="31290" y="21216"/>
                    <a:pt x="30990" y="20715"/>
                  </a:cubicBezTo>
                  <a:cubicBezTo>
                    <a:pt x="26153" y="16579"/>
                    <a:pt x="21316" y="12476"/>
                    <a:pt x="16479" y="8373"/>
                  </a:cubicBezTo>
                  <a:cubicBezTo>
                    <a:pt x="13144" y="5571"/>
                    <a:pt x="9808" y="2803"/>
                    <a:pt x="6472"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1" name="Google Shape;321;p30"/>
            <p:cNvSpPr/>
            <p:nvPr/>
          </p:nvSpPr>
          <p:spPr>
            <a:xfrm>
              <a:off x="9793650" y="2128588"/>
              <a:ext cx="527050" cy="569400"/>
            </a:xfrm>
            <a:custGeom>
              <a:avLst/>
              <a:gdLst/>
              <a:ahLst/>
              <a:cxnLst/>
              <a:rect l="l" t="t" r="r" b="b"/>
              <a:pathLst>
                <a:path w="21082" h="22776" extrusionOk="0">
                  <a:moveTo>
                    <a:pt x="18013" y="1"/>
                  </a:moveTo>
                  <a:cubicBezTo>
                    <a:pt x="17713" y="268"/>
                    <a:pt x="17413" y="534"/>
                    <a:pt x="17146" y="835"/>
                  </a:cubicBezTo>
                  <a:cubicBezTo>
                    <a:pt x="13410" y="5104"/>
                    <a:pt x="9707" y="9407"/>
                    <a:pt x="6004" y="13677"/>
                  </a:cubicBezTo>
                  <a:cubicBezTo>
                    <a:pt x="5979" y="13675"/>
                    <a:pt x="5953" y="13674"/>
                    <a:pt x="5928" y="13674"/>
                  </a:cubicBezTo>
                  <a:cubicBezTo>
                    <a:pt x="5566" y="13674"/>
                    <a:pt x="5289" y="13894"/>
                    <a:pt x="5070" y="14144"/>
                  </a:cubicBezTo>
                  <a:cubicBezTo>
                    <a:pt x="3669" y="15745"/>
                    <a:pt x="2202" y="17313"/>
                    <a:pt x="867" y="18981"/>
                  </a:cubicBezTo>
                  <a:cubicBezTo>
                    <a:pt x="0" y="20082"/>
                    <a:pt x="134" y="21082"/>
                    <a:pt x="1201" y="22083"/>
                  </a:cubicBezTo>
                  <a:cubicBezTo>
                    <a:pt x="1725" y="22542"/>
                    <a:pt x="2226" y="22776"/>
                    <a:pt x="2730" y="22776"/>
                  </a:cubicBezTo>
                  <a:cubicBezTo>
                    <a:pt x="3251" y="22776"/>
                    <a:pt x="3777" y="22525"/>
                    <a:pt x="4337" y="22016"/>
                  </a:cubicBezTo>
                  <a:cubicBezTo>
                    <a:pt x="4670" y="21716"/>
                    <a:pt x="4970" y="21383"/>
                    <a:pt x="5170" y="20949"/>
                  </a:cubicBezTo>
                  <a:cubicBezTo>
                    <a:pt x="5271" y="20682"/>
                    <a:pt x="5237" y="20382"/>
                    <a:pt x="5037" y="20182"/>
                  </a:cubicBezTo>
                  <a:cubicBezTo>
                    <a:pt x="4337" y="19481"/>
                    <a:pt x="4670" y="18948"/>
                    <a:pt x="5170" y="18314"/>
                  </a:cubicBezTo>
                  <a:cubicBezTo>
                    <a:pt x="5492" y="17912"/>
                    <a:pt x="5813" y="17704"/>
                    <a:pt x="6171" y="17704"/>
                  </a:cubicBezTo>
                  <a:cubicBezTo>
                    <a:pt x="6408" y="17704"/>
                    <a:pt x="6660" y="17795"/>
                    <a:pt x="6938" y="17980"/>
                  </a:cubicBezTo>
                  <a:cubicBezTo>
                    <a:pt x="7030" y="18035"/>
                    <a:pt x="7152" y="18060"/>
                    <a:pt x="7277" y="18060"/>
                  </a:cubicBezTo>
                  <a:cubicBezTo>
                    <a:pt x="7379" y="18060"/>
                    <a:pt x="7482" y="18044"/>
                    <a:pt x="7572" y="18014"/>
                  </a:cubicBezTo>
                  <a:cubicBezTo>
                    <a:pt x="8339" y="17580"/>
                    <a:pt x="8773" y="16779"/>
                    <a:pt x="9407" y="16246"/>
                  </a:cubicBezTo>
                  <a:cubicBezTo>
                    <a:pt x="12976" y="12109"/>
                    <a:pt x="16545" y="8006"/>
                    <a:pt x="20148" y="3870"/>
                  </a:cubicBezTo>
                  <a:cubicBezTo>
                    <a:pt x="20481" y="3470"/>
                    <a:pt x="21082" y="3103"/>
                    <a:pt x="20782" y="2369"/>
                  </a:cubicBezTo>
                  <a:cubicBezTo>
                    <a:pt x="19848" y="1568"/>
                    <a:pt x="18914" y="801"/>
                    <a:pt x="18013" y="1"/>
                  </a:cubicBezTo>
                  <a:close/>
                </a:path>
              </a:pathLst>
            </a:custGeom>
            <a:solidFill>
              <a:srgbClr val="F7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2" name="Google Shape;322;p30"/>
            <p:cNvSpPr/>
            <p:nvPr/>
          </p:nvSpPr>
          <p:spPr>
            <a:xfrm>
              <a:off x="10021300" y="2182338"/>
              <a:ext cx="324425" cy="364100"/>
            </a:xfrm>
            <a:custGeom>
              <a:avLst/>
              <a:gdLst/>
              <a:ahLst/>
              <a:cxnLst/>
              <a:rect l="l" t="t" r="r" b="b"/>
              <a:pathLst>
                <a:path w="12977" h="14564" extrusionOk="0">
                  <a:moveTo>
                    <a:pt x="12340" y="1"/>
                  </a:moveTo>
                  <a:cubicBezTo>
                    <a:pt x="12125" y="1"/>
                    <a:pt x="11895" y="139"/>
                    <a:pt x="11676" y="219"/>
                  </a:cubicBezTo>
                  <a:cubicBezTo>
                    <a:pt x="11008" y="1020"/>
                    <a:pt x="10375" y="1854"/>
                    <a:pt x="9708" y="2654"/>
                  </a:cubicBezTo>
                  <a:cubicBezTo>
                    <a:pt x="6472" y="6390"/>
                    <a:pt x="3236" y="10126"/>
                    <a:pt x="1" y="13896"/>
                  </a:cubicBezTo>
                  <a:cubicBezTo>
                    <a:pt x="56" y="14309"/>
                    <a:pt x="225" y="14563"/>
                    <a:pt x="584" y="14563"/>
                  </a:cubicBezTo>
                  <a:cubicBezTo>
                    <a:pt x="659" y="14563"/>
                    <a:pt x="742" y="14552"/>
                    <a:pt x="835" y="14529"/>
                  </a:cubicBezTo>
                  <a:cubicBezTo>
                    <a:pt x="4671" y="10126"/>
                    <a:pt x="8507" y="5723"/>
                    <a:pt x="12343" y="1320"/>
                  </a:cubicBezTo>
                  <a:cubicBezTo>
                    <a:pt x="12610" y="1020"/>
                    <a:pt x="12977" y="686"/>
                    <a:pt x="12743" y="252"/>
                  </a:cubicBezTo>
                  <a:cubicBezTo>
                    <a:pt x="12622" y="64"/>
                    <a:pt x="12485" y="1"/>
                    <a:pt x="12340" y="1"/>
                  </a:cubicBezTo>
                  <a:close/>
                </a:path>
              </a:pathLst>
            </a:custGeom>
            <a:solidFill>
              <a:schemeClr val="accent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3" name="Google Shape;323;p30"/>
            <p:cNvSpPr/>
            <p:nvPr/>
          </p:nvSpPr>
          <p:spPr>
            <a:xfrm>
              <a:off x="9766950" y="2445488"/>
              <a:ext cx="176825" cy="275225"/>
            </a:xfrm>
            <a:custGeom>
              <a:avLst/>
              <a:gdLst/>
              <a:ahLst/>
              <a:cxnLst/>
              <a:rect l="l" t="t" r="r" b="b"/>
              <a:pathLst>
                <a:path w="7073" h="11009" extrusionOk="0">
                  <a:moveTo>
                    <a:pt x="6072" y="0"/>
                  </a:moveTo>
                  <a:cubicBezTo>
                    <a:pt x="4938" y="1768"/>
                    <a:pt x="3537" y="3370"/>
                    <a:pt x="2102" y="4937"/>
                  </a:cubicBezTo>
                  <a:cubicBezTo>
                    <a:pt x="1135" y="5971"/>
                    <a:pt x="1" y="7039"/>
                    <a:pt x="568" y="8707"/>
                  </a:cubicBezTo>
                  <a:cubicBezTo>
                    <a:pt x="1035" y="9174"/>
                    <a:pt x="1535" y="9674"/>
                    <a:pt x="2035" y="10108"/>
                  </a:cubicBezTo>
                  <a:cubicBezTo>
                    <a:pt x="2701" y="10709"/>
                    <a:pt x="3320" y="11009"/>
                    <a:pt x="3925" y="11009"/>
                  </a:cubicBezTo>
                  <a:cubicBezTo>
                    <a:pt x="4564" y="11009"/>
                    <a:pt x="5188" y="10675"/>
                    <a:pt x="5838" y="10008"/>
                  </a:cubicBezTo>
                  <a:cubicBezTo>
                    <a:pt x="6272" y="9607"/>
                    <a:pt x="6605" y="9107"/>
                    <a:pt x="6972" y="8673"/>
                  </a:cubicBezTo>
                  <a:cubicBezTo>
                    <a:pt x="7030" y="8124"/>
                    <a:pt x="6763" y="7926"/>
                    <a:pt x="6343" y="7926"/>
                  </a:cubicBezTo>
                  <a:cubicBezTo>
                    <a:pt x="6278" y="7926"/>
                    <a:pt x="6210" y="7931"/>
                    <a:pt x="6138" y="7939"/>
                  </a:cubicBezTo>
                  <a:cubicBezTo>
                    <a:pt x="5805" y="8306"/>
                    <a:pt x="5438" y="8673"/>
                    <a:pt x="5138" y="9040"/>
                  </a:cubicBezTo>
                  <a:cubicBezTo>
                    <a:pt x="4721" y="9557"/>
                    <a:pt x="4312" y="9791"/>
                    <a:pt x="3895" y="9791"/>
                  </a:cubicBezTo>
                  <a:cubicBezTo>
                    <a:pt x="3478" y="9791"/>
                    <a:pt x="3053" y="9557"/>
                    <a:pt x="2603" y="9140"/>
                  </a:cubicBezTo>
                  <a:cubicBezTo>
                    <a:pt x="1468" y="8106"/>
                    <a:pt x="1368" y="7639"/>
                    <a:pt x="2269" y="6538"/>
                  </a:cubicBezTo>
                  <a:cubicBezTo>
                    <a:pt x="3870" y="4704"/>
                    <a:pt x="5471" y="2836"/>
                    <a:pt x="7072" y="1001"/>
                  </a:cubicBezTo>
                  <a:cubicBezTo>
                    <a:pt x="6839" y="534"/>
                    <a:pt x="6539" y="201"/>
                    <a:pt x="6072" y="0"/>
                  </a:cubicBezTo>
                  <a:close/>
                </a:path>
              </a:pathLst>
            </a:custGeom>
            <a:solidFill>
              <a:srgbClr val="66575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4" name="Google Shape;324;p30"/>
            <p:cNvSpPr/>
            <p:nvPr/>
          </p:nvSpPr>
          <p:spPr>
            <a:xfrm>
              <a:off x="9887050" y="2557163"/>
              <a:ext cx="146775" cy="159375"/>
            </a:xfrm>
            <a:custGeom>
              <a:avLst/>
              <a:gdLst/>
              <a:ahLst/>
              <a:cxnLst/>
              <a:rect l="l" t="t" r="r" b="b"/>
              <a:pathLst>
                <a:path w="5871" h="6375" extrusionOk="0">
                  <a:moveTo>
                    <a:pt x="2341" y="1"/>
                  </a:moveTo>
                  <a:cubicBezTo>
                    <a:pt x="1807" y="1"/>
                    <a:pt x="1333" y="401"/>
                    <a:pt x="901" y="1171"/>
                  </a:cubicBezTo>
                  <a:cubicBezTo>
                    <a:pt x="834" y="1304"/>
                    <a:pt x="734" y="1404"/>
                    <a:pt x="634" y="1471"/>
                  </a:cubicBezTo>
                  <a:cubicBezTo>
                    <a:pt x="0" y="2005"/>
                    <a:pt x="0" y="2472"/>
                    <a:pt x="767" y="2939"/>
                  </a:cubicBezTo>
                  <a:cubicBezTo>
                    <a:pt x="1001" y="3072"/>
                    <a:pt x="1134" y="3306"/>
                    <a:pt x="1334" y="3506"/>
                  </a:cubicBezTo>
                  <a:cubicBezTo>
                    <a:pt x="1668" y="3639"/>
                    <a:pt x="2002" y="3839"/>
                    <a:pt x="2168" y="4206"/>
                  </a:cubicBezTo>
                  <a:cubicBezTo>
                    <a:pt x="3136" y="4907"/>
                    <a:pt x="4103" y="5607"/>
                    <a:pt x="5170" y="6375"/>
                  </a:cubicBezTo>
                  <a:cubicBezTo>
                    <a:pt x="5271" y="5607"/>
                    <a:pt x="5337" y="5040"/>
                    <a:pt x="5437" y="4473"/>
                  </a:cubicBezTo>
                  <a:cubicBezTo>
                    <a:pt x="5604" y="3372"/>
                    <a:pt x="5871" y="2238"/>
                    <a:pt x="4637" y="1504"/>
                  </a:cubicBezTo>
                  <a:cubicBezTo>
                    <a:pt x="4603" y="904"/>
                    <a:pt x="4170" y="804"/>
                    <a:pt x="3703" y="737"/>
                  </a:cubicBezTo>
                  <a:cubicBezTo>
                    <a:pt x="3207" y="242"/>
                    <a:pt x="2756" y="1"/>
                    <a:pt x="2341"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5" name="Google Shape;325;p30"/>
            <p:cNvSpPr/>
            <p:nvPr/>
          </p:nvSpPr>
          <p:spPr>
            <a:xfrm>
              <a:off x="9979600" y="2529713"/>
              <a:ext cx="62575" cy="65075"/>
            </a:xfrm>
            <a:custGeom>
              <a:avLst/>
              <a:gdLst/>
              <a:ahLst/>
              <a:cxnLst/>
              <a:rect l="l" t="t" r="r" b="b"/>
              <a:pathLst>
                <a:path w="2503" h="2603" extrusionOk="0">
                  <a:moveTo>
                    <a:pt x="1669" y="1"/>
                  </a:moveTo>
                  <a:cubicBezTo>
                    <a:pt x="1135" y="601"/>
                    <a:pt x="568" y="1235"/>
                    <a:pt x="1" y="1835"/>
                  </a:cubicBezTo>
                  <a:cubicBezTo>
                    <a:pt x="334" y="2069"/>
                    <a:pt x="635" y="2336"/>
                    <a:pt x="935" y="2602"/>
                  </a:cubicBezTo>
                  <a:cubicBezTo>
                    <a:pt x="1468" y="1935"/>
                    <a:pt x="2002" y="1268"/>
                    <a:pt x="2503" y="634"/>
                  </a:cubicBezTo>
                  <a:cubicBezTo>
                    <a:pt x="2236" y="401"/>
                    <a:pt x="1969" y="201"/>
                    <a:pt x="1669" y="1"/>
                  </a:cubicBezTo>
                  <a:close/>
                </a:path>
              </a:pathLst>
            </a:custGeom>
            <a:solidFill>
              <a:srgbClr val="66575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6" name="Google Shape;326;p30"/>
            <p:cNvSpPr/>
            <p:nvPr/>
          </p:nvSpPr>
          <p:spPr>
            <a:xfrm>
              <a:off x="10074675" y="840363"/>
              <a:ext cx="132625" cy="170800"/>
            </a:xfrm>
            <a:custGeom>
              <a:avLst/>
              <a:gdLst/>
              <a:ahLst/>
              <a:cxnLst/>
              <a:rect l="l" t="t" r="r" b="b"/>
              <a:pathLst>
                <a:path w="5305" h="6832" extrusionOk="0">
                  <a:moveTo>
                    <a:pt x="3384" y="0"/>
                  </a:moveTo>
                  <a:cubicBezTo>
                    <a:pt x="3062" y="0"/>
                    <a:pt x="2736" y="60"/>
                    <a:pt x="2402" y="226"/>
                  </a:cubicBezTo>
                  <a:cubicBezTo>
                    <a:pt x="1468" y="393"/>
                    <a:pt x="934" y="1094"/>
                    <a:pt x="768" y="1827"/>
                  </a:cubicBezTo>
                  <a:cubicBezTo>
                    <a:pt x="334" y="3462"/>
                    <a:pt x="0" y="5130"/>
                    <a:pt x="0" y="6831"/>
                  </a:cubicBezTo>
                  <a:cubicBezTo>
                    <a:pt x="634" y="6397"/>
                    <a:pt x="1268" y="5964"/>
                    <a:pt x="1602" y="5263"/>
                  </a:cubicBezTo>
                  <a:cubicBezTo>
                    <a:pt x="2132" y="5538"/>
                    <a:pt x="2674" y="5686"/>
                    <a:pt x="3228" y="5686"/>
                  </a:cubicBezTo>
                  <a:cubicBezTo>
                    <a:pt x="3614" y="5686"/>
                    <a:pt x="4006" y="5614"/>
                    <a:pt x="4404" y="5463"/>
                  </a:cubicBezTo>
                  <a:cubicBezTo>
                    <a:pt x="4704" y="3762"/>
                    <a:pt x="5004" y="2028"/>
                    <a:pt x="5304" y="326"/>
                  </a:cubicBezTo>
                  <a:cubicBezTo>
                    <a:pt x="4659" y="237"/>
                    <a:pt x="4029" y="0"/>
                    <a:pt x="3384"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7" name="Google Shape;327;p30"/>
            <p:cNvSpPr/>
            <p:nvPr/>
          </p:nvSpPr>
          <p:spPr>
            <a:xfrm>
              <a:off x="9973775" y="1484813"/>
              <a:ext cx="129275" cy="162625"/>
            </a:xfrm>
            <a:custGeom>
              <a:avLst/>
              <a:gdLst/>
              <a:ahLst/>
              <a:cxnLst/>
              <a:rect l="l" t="t" r="r" b="b"/>
              <a:pathLst>
                <a:path w="5171" h="6505" extrusionOk="0">
                  <a:moveTo>
                    <a:pt x="3468" y="0"/>
                  </a:moveTo>
                  <a:cubicBezTo>
                    <a:pt x="3094" y="0"/>
                    <a:pt x="2717" y="62"/>
                    <a:pt x="2335" y="233"/>
                  </a:cubicBezTo>
                  <a:cubicBezTo>
                    <a:pt x="1568" y="400"/>
                    <a:pt x="1201" y="967"/>
                    <a:pt x="801" y="1568"/>
                  </a:cubicBezTo>
                  <a:cubicBezTo>
                    <a:pt x="334" y="3169"/>
                    <a:pt x="34" y="4803"/>
                    <a:pt x="0" y="6505"/>
                  </a:cubicBezTo>
                  <a:cubicBezTo>
                    <a:pt x="367" y="5704"/>
                    <a:pt x="1068" y="5304"/>
                    <a:pt x="1802" y="4937"/>
                  </a:cubicBezTo>
                  <a:cubicBezTo>
                    <a:pt x="2005" y="4892"/>
                    <a:pt x="2206" y="4874"/>
                    <a:pt x="2407" y="4874"/>
                  </a:cubicBezTo>
                  <a:cubicBezTo>
                    <a:pt x="3094" y="4874"/>
                    <a:pt x="3765" y="5085"/>
                    <a:pt x="4437" y="5137"/>
                  </a:cubicBezTo>
                  <a:cubicBezTo>
                    <a:pt x="4670" y="3502"/>
                    <a:pt x="4937" y="1868"/>
                    <a:pt x="5171" y="267"/>
                  </a:cubicBezTo>
                  <a:cubicBezTo>
                    <a:pt x="4605" y="146"/>
                    <a:pt x="4040" y="0"/>
                    <a:pt x="346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8" name="Google Shape;328;p30"/>
            <p:cNvSpPr/>
            <p:nvPr/>
          </p:nvSpPr>
          <p:spPr>
            <a:xfrm>
              <a:off x="10051325" y="1009613"/>
              <a:ext cx="127625" cy="148300"/>
            </a:xfrm>
            <a:custGeom>
              <a:avLst/>
              <a:gdLst/>
              <a:ahLst/>
              <a:cxnLst/>
              <a:rect l="l" t="t" r="r" b="b"/>
              <a:pathLst>
                <a:path w="5105" h="5932" extrusionOk="0">
                  <a:moveTo>
                    <a:pt x="3296" y="0"/>
                  </a:moveTo>
                  <a:cubicBezTo>
                    <a:pt x="2965" y="0"/>
                    <a:pt x="2633" y="43"/>
                    <a:pt x="2302" y="161"/>
                  </a:cubicBezTo>
                  <a:cubicBezTo>
                    <a:pt x="1568" y="428"/>
                    <a:pt x="1068" y="895"/>
                    <a:pt x="701" y="1562"/>
                  </a:cubicBezTo>
                  <a:cubicBezTo>
                    <a:pt x="267" y="2996"/>
                    <a:pt x="34" y="4431"/>
                    <a:pt x="0" y="5932"/>
                  </a:cubicBezTo>
                  <a:cubicBezTo>
                    <a:pt x="401" y="5065"/>
                    <a:pt x="1101" y="4531"/>
                    <a:pt x="2035" y="4264"/>
                  </a:cubicBezTo>
                  <a:cubicBezTo>
                    <a:pt x="2162" y="4259"/>
                    <a:pt x="2289" y="4256"/>
                    <a:pt x="2415" y="4256"/>
                  </a:cubicBezTo>
                  <a:cubicBezTo>
                    <a:pt x="3088" y="4256"/>
                    <a:pt x="3758" y="4334"/>
                    <a:pt x="4404" y="4531"/>
                  </a:cubicBezTo>
                  <a:cubicBezTo>
                    <a:pt x="4637" y="3097"/>
                    <a:pt x="4871" y="1662"/>
                    <a:pt x="5104" y="228"/>
                  </a:cubicBezTo>
                  <a:cubicBezTo>
                    <a:pt x="4501" y="142"/>
                    <a:pt x="3899" y="0"/>
                    <a:pt x="329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9" name="Google Shape;329;p30"/>
            <p:cNvSpPr/>
            <p:nvPr/>
          </p:nvSpPr>
          <p:spPr>
            <a:xfrm>
              <a:off x="10077175" y="848513"/>
              <a:ext cx="685525" cy="860050"/>
            </a:xfrm>
            <a:custGeom>
              <a:avLst/>
              <a:gdLst/>
              <a:ahLst/>
              <a:cxnLst/>
              <a:rect l="l" t="t" r="r" b="b"/>
              <a:pathLst>
                <a:path w="27421" h="34402" extrusionOk="0">
                  <a:moveTo>
                    <a:pt x="5204" y="0"/>
                  </a:moveTo>
                  <a:cubicBezTo>
                    <a:pt x="4837" y="234"/>
                    <a:pt x="4671" y="601"/>
                    <a:pt x="4604" y="1001"/>
                  </a:cubicBezTo>
                  <a:cubicBezTo>
                    <a:pt x="4404" y="2335"/>
                    <a:pt x="4103" y="3703"/>
                    <a:pt x="4003" y="5071"/>
                  </a:cubicBezTo>
                  <a:cubicBezTo>
                    <a:pt x="3870" y="5571"/>
                    <a:pt x="3803" y="6105"/>
                    <a:pt x="3770" y="6638"/>
                  </a:cubicBezTo>
                  <a:cubicBezTo>
                    <a:pt x="3436" y="8039"/>
                    <a:pt x="3236" y="9440"/>
                    <a:pt x="3103" y="10875"/>
                  </a:cubicBezTo>
                  <a:cubicBezTo>
                    <a:pt x="2602" y="12976"/>
                    <a:pt x="2369" y="15078"/>
                    <a:pt x="2035" y="17213"/>
                  </a:cubicBezTo>
                  <a:cubicBezTo>
                    <a:pt x="1602" y="19981"/>
                    <a:pt x="1068" y="22750"/>
                    <a:pt x="768" y="25552"/>
                  </a:cubicBezTo>
                  <a:cubicBezTo>
                    <a:pt x="401" y="26920"/>
                    <a:pt x="267" y="28321"/>
                    <a:pt x="67" y="29688"/>
                  </a:cubicBezTo>
                  <a:cubicBezTo>
                    <a:pt x="1" y="30022"/>
                    <a:pt x="34" y="30355"/>
                    <a:pt x="234" y="30656"/>
                  </a:cubicBezTo>
                  <a:cubicBezTo>
                    <a:pt x="634" y="31056"/>
                    <a:pt x="1168" y="31089"/>
                    <a:pt x="1702" y="31189"/>
                  </a:cubicBezTo>
                  <a:cubicBezTo>
                    <a:pt x="8273" y="32223"/>
                    <a:pt x="14844" y="33291"/>
                    <a:pt x="21449" y="34325"/>
                  </a:cubicBezTo>
                  <a:cubicBezTo>
                    <a:pt x="21661" y="34363"/>
                    <a:pt x="21873" y="34402"/>
                    <a:pt x="22085" y="34402"/>
                  </a:cubicBezTo>
                  <a:cubicBezTo>
                    <a:pt x="22240" y="34402"/>
                    <a:pt x="22395" y="34381"/>
                    <a:pt x="22550" y="34325"/>
                  </a:cubicBezTo>
                  <a:cubicBezTo>
                    <a:pt x="24118" y="24385"/>
                    <a:pt x="25719" y="14444"/>
                    <a:pt x="27320" y="4504"/>
                  </a:cubicBezTo>
                  <a:cubicBezTo>
                    <a:pt x="27420" y="3803"/>
                    <a:pt x="27220" y="3470"/>
                    <a:pt x="26486" y="3336"/>
                  </a:cubicBezTo>
                  <a:cubicBezTo>
                    <a:pt x="19414" y="2235"/>
                    <a:pt x="12309" y="1135"/>
                    <a:pt x="5204" y="0"/>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0" name="Google Shape;330;p30"/>
            <p:cNvSpPr/>
            <p:nvPr/>
          </p:nvSpPr>
          <p:spPr>
            <a:xfrm>
              <a:off x="9992125" y="1107013"/>
              <a:ext cx="170125" cy="527075"/>
            </a:xfrm>
            <a:custGeom>
              <a:avLst/>
              <a:gdLst/>
              <a:ahLst/>
              <a:cxnLst/>
              <a:rect l="l" t="t" r="r" b="b"/>
              <a:pathLst>
                <a:path w="6805" h="21083" extrusionOk="0">
                  <a:moveTo>
                    <a:pt x="5197" y="0"/>
                  </a:moveTo>
                  <a:cubicBezTo>
                    <a:pt x="4197" y="0"/>
                    <a:pt x="3104" y="481"/>
                    <a:pt x="2635" y="1235"/>
                  </a:cubicBezTo>
                  <a:cubicBezTo>
                    <a:pt x="1234" y="6372"/>
                    <a:pt x="867" y="11276"/>
                    <a:pt x="0" y="16380"/>
                  </a:cubicBezTo>
                  <a:cubicBezTo>
                    <a:pt x="6305" y="13277"/>
                    <a:pt x="3269" y="21083"/>
                    <a:pt x="6805" y="635"/>
                  </a:cubicBezTo>
                  <a:cubicBezTo>
                    <a:pt x="6429" y="194"/>
                    <a:pt x="5832" y="0"/>
                    <a:pt x="519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1" name="Google Shape;331;p30"/>
            <p:cNvSpPr/>
            <p:nvPr/>
          </p:nvSpPr>
          <p:spPr>
            <a:xfrm>
              <a:off x="9952075" y="1599138"/>
              <a:ext cx="688850" cy="253175"/>
            </a:xfrm>
            <a:custGeom>
              <a:avLst/>
              <a:gdLst/>
              <a:ahLst/>
              <a:cxnLst/>
              <a:rect l="l" t="t" r="r" b="b"/>
              <a:pathLst>
                <a:path w="27554" h="10127" extrusionOk="0">
                  <a:moveTo>
                    <a:pt x="3689" y="1"/>
                  </a:moveTo>
                  <a:cubicBezTo>
                    <a:pt x="3400" y="1"/>
                    <a:pt x="3103" y="30"/>
                    <a:pt x="2803" y="64"/>
                  </a:cubicBezTo>
                  <a:cubicBezTo>
                    <a:pt x="1936" y="464"/>
                    <a:pt x="968" y="731"/>
                    <a:pt x="868" y="1932"/>
                  </a:cubicBezTo>
                  <a:cubicBezTo>
                    <a:pt x="1" y="4066"/>
                    <a:pt x="835" y="6101"/>
                    <a:pt x="2803" y="6435"/>
                  </a:cubicBezTo>
                  <a:cubicBezTo>
                    <a:pt x="10475" y="7669"/>
                    <a:pt x="18147" y="8870"/>
                    <a:pt x="25819" y="10104"/>
                  </a:cubicBezTo>
                  <a:cubicBezTo>
                    <a:pt x="25919" y="10119"/>
                    <a:pt x="26009" y="10127"/>
                    <a:pt x="26091" y="10127"/>
                  </a:cubicBezTo>
                  <a:cubicBezTo>
                    <a:pt x="26560" y="10127"/>
                    <a:pt x="26753" y="9881"/>
                    <a:pt x="26753" y="9370"/>
                  </a:cubicBezTo>
                  <a:cubicBezTo>
                    <a:pt x="26520" y="9003"/>
                    <a:pt x="26420" y="8536"/>
                    <a:pt x="25986" y="8336"/>
                  </a:cubicBezTo>
                  <a:cubicBezTo>
                    <a:pt x="25886" y="8370"/>
                    <a:pt x="25819" y="8403"/>
                    <a:pt x="25753" y="8470"/>
                  </a:cubicBezTo>
                  <a:cubicBezTo>
                    <a:pt x="25605" y="8636"/>
                    <a:pt x="25436" y="8679"/>
                    <a:pt x="25259" y="8679"/>
                  </a:cubicBezTo>
                  <a:cubicBezTo>
                    <a:pt x="25116" y="8679"/>
                    <a:pt x="24967" y="8651"/>
                    <a:pt x="24819" y="8636"/>
                  </a:cubicBezTo>
                  <a:cubicBezTo>
                    <a:pt x="24352" y="8603"/>
                    <a:pt x="23885" y="8436"/>
                    <a:pt x="23418" y="8436"/>
                  </a:cubicBezTo>
                  <a:cubicBezTo>
                    <a:pt x="18314" y="7669"/>
                    <a:pt x="13244" y="6802"/>
                    <a:pt x="8140" y="6068"/>
                  </a:cubicBezTo>
                  <a:cubicBezTo>
                    <a:pt x="8023" y="6156"/>
                    <a:pt x="7921" y="6191"/>
                    <a:pt x="7831" y="6191"/>
                  </a:cubicBezTo>
                  <a:cubicBezTo>
                    <a:pt x="7509" y="6191"/>
                    <a:pt x="7318" y="5753"/>
                    <a:pt x="7006" y="5701"/>
                  </a:cubicBezTo>
                  <a:cubicBezTo>
                    <a:pt x="6572" y="5568"/>
                    <a:pt x="6105" y="5501"/>
                    <a:pt x="5638" y="5467"/>
                  </a:cubicBezTo>
                  <a:cubicBezTo>
                    <a:pt x="5394" y="5486"/>
                    <a:pt x="5150" y="5579"/>
                    <a:pt x="4917" y="5579"/>
                  </a:cubicBezTo>
                  <a:cubicBezTo>
                    <a:pt x="4737" y="5579"/>
                    <a:pt x="4564" y="5523"/>
                    <a:pt x="4404" y="5334"/>
                  </a:cubicBezTo>
                  <a:cubicBezTo>
                    <a:pt x="4071" y="5134"/>
                    <a:pt x="3670" y="5134"/>
                    <a:pt x="3303" y="5067"/>
                  </a:cubicBezTo>
                  <a:cubicBezTo>
                    <a:pt x="2236" y="4900"/>
                    <a:pt x="1702" y="3933"/>
                    <a:pt x="2069" y="2899"/>
                  </a:cubicBezTo>
                  <a:cubicBezTo>
                    <a:pt x="2169" y="2599"/>
                    <a:pt x="2403" y="2365"/>
                    <a:pt x="2569" y="2098"/>
                  </a:cubicBezTo>
                  <a:cubicBezTo>
                    <a:pt x="2841" y="1807"/>
                    <a:pt x="3147" y="1731"/>
                    <a:pt x="3473" y="1731"/>
                  </a:cubicBezTo>
                  <a:cubicBezTo>
                    <a:pt x="3708" y="1731"/>
                    <a:pt x="3953" y="1770"/>
                    <a:pt x="4204" y="1798"/>
                  </a:cubicBezTo>
                  <a:cubicBezTo>
                    <a:pt x="11576" y="2966"/>
                    <a:pt x="18948" y="4167"/>
                    <a:pt x="26320" y="5334"/>
                  </a:cubicBezTo>
                  <a:cubicBezTo>
                    <a:pt x="26449" y="5364"/>
                    <a:pt x="26575" y="5382"/>
                    <a:pt x="26696" y="5382"/>
                  </a:cubicBezTo>
                  <a:cubicBezTo>
                    <a:pt x="26983" y="5382"/>
                    <a:pt x="27243" y="5282"/>
                    <a:pt x="27454" y="5000"/>
                  </a:cubicBezTo>
                  <a:cubicBezTo>
                    <a:pt x="27487" y="4767"/>
                    <a:pt x="27521" y="4533"/>
                    <a:pt x="27554" y="4300"/>
                  </a:cubicBezTo>
                  <a:cubicBezTo>
                    <a:pt x="27220" y="4000"/>
                    <a:pt x="26753" y="3966"/>
                    <a:pt x="26320" y="3900"/>
                  </a:cubicBezTo>
                  <a:cubicBezTo>
                    <a:pt x="19315" y="2799"/>
                    <a:pt x="12310" y="1665"/>
                    <a:pt x="5305" y="564"/>
                  </a:cubicBezTo>
                  <a:cubicBezTo>
                    <a:pt x="4815" y="119"/>
                    <a:pt x="4267" y="1"/>
                    <a:pt x="3689"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2" name="Google Shape;332;p30"/>
            <p:cNvSpPr/>
            <p:nvPr/>
          </p:nvSpPr>
          <p:spPr>
            <a:xfrm>
              <a:off x="10064675" y="970863"/>
              <a:ext cx="120100" cy="73400"/>
            </a:xfrm>
            <a:custGeom>
              <a:avLst/>
              <a:gdLst/>
              <a:ahLst/>
              <a:cxnLst/>
              <a:rect l="l" t="t" r="r" b="b"/>
              <a:pathLst>
                <a:path w="4804" h="2936" extrusionOk="0">
                  <a:moveTo>
                    <a:pt x="3149" y="1"/>
                  </a:moveTo>
                  <a:cubicBezTo>
                    <a:pt x="1903" y="1"/>
                    <a:pt x="870" y="483"/>
                    <a:pt x="400" y="1611"/>
                  </a:cubicBezTo>
                  <a:cubicBezTo>
                    <a:pt x="200" y="2111"/>
                    <a:pt x="0" y="2812"/>
                    <a:pt x="200" y="2912"/>
                  </a:cubicBezTo>
                  <a:cubicBezTo>
                    <a:pt x="222" y="2928"/>
                    <a:pt x="249" y="2936"/>
                    <a:pt x="279" y="2936"/>
                  </a:cubicBezTo>
                  <a:cubicBezTo>
                    <a:pt x="431" y="2936"/>
                    <a:pt x="672" y="2746"/>
                    <a:pt x="867" y="2578"/>
                  </a:cubicBezTo>
                  <a:cubicBezTo>
                    <a:pt x="1268" y="2078"/>
                    <a:pt x="1835" y="1544"/>
                    <a:pt x="2569" y="1511"/>
                  </a:cubicBezTo>
                  <a:cubicBezTo>
                    <a:pt x="2594" y="1510"/>
                    <a:pt x="2618" y="1509"/>
                    <a:pt x="2643" y="1509"/>
                  </a:cubicBezTo>
                  <a:cubicBezTo>
                    <a:pt x="3224" y="1509"/>
                    <a:pt x="3630" y="1807"/>
                    <a:pt x="4001" y="1807"/>
                  </a:cubicBezTo>
                  <a:cubicBezTo>
                    <a:pt x="4092" y="1807"/>
                    <a:pt x="4181" y="1789"/>
                    <a:pt x="4270" y="1744"/>
                  </a:cubicBezTo>
                  <a:cubicBezTo>
                    <a:pt x="4537" y="1611"/>
                    <a:pt x="4804" y="1244"/>
                    <a:pt x="4804" y="243"/>
                  </a:cubicBezTo>
                  <a:cubicBezTo>
                    <a:pt x="4232" y="86"/>
                    <a:pt x="3672" y="1"/>
                    <a:pt x="314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3" name="Google Shape;333;p30"/>
            <p:cNvSpPr/>
            <p:nvPr/>
          </p:nvSpPr>
          <p:spPr>
            <a:xfrm>
              <a:off x="10596725" y="1724138"/>
              <a:ext cx="41700" cy="108425"/>
            </a:xfrm>
            <a:custGeom>
              <a:avLst/>
              <a:gdLst/>
              <a:ahLst/>
              <a:cxnLst/>
              <a:rect l="l" t="t" r="r" b="b"/>
              <a:pathLst>
                <a:path w="1668" h="4337" extrusionOk="0">
                  <a:moveTo>
                    <a:pt x="1668" y="0"/>
                  </a:moveTo>
                  <a:cubicBezTo>
                    <a:pt x="1368" y="34"/>
                    <a:pt x="1034" y="67"/>
                    <a:pt x="734" y="101"/>
                  </a:cubicBezTo>
                  <a:cubicBezTo>
                    <a:pt x="467" y="201"/>
                    <a:pt x="367" y="434"/>
                    <a:pt x="334" y="701"/>
                  </a:cubicBezTo>
                  <a:cubicBezTo>
                    <a:pt x="267" y="834"/>
                    <a:pt x="267" y="968"/>
                    <a:pt x="234" y="1135"/>
                  </a:cubicBezTo>
                  <a:cubicBezTo>
                    <a:pt x="200" y="1301"/>
                    <a:pt x="167" y="1502"/>
                    <a:pt x="167" y="1702"/>
                  </a:cubicBezTo>
                  <a:cubicBezTo>
                    <a:pt x="100" y="1902"/>
                    <a:pt x="100" y="2069"/>
                    <a:pt x="67" y="2269"/>
                  </a:cubicBezTo>
                  <a:cubicBezTo>
                    <a:pt x="0" y="2469"/>
                    <a:pt x="0" y="2669"/>
                    <a:pt x="0" y="2869"/>
                  </a:cubicBezTo>
                  <a:cubicBezTo>
                    <a:pt x="0" y="3103"/>
                    <a:pt x="33" y="3303"/>
                    <a:pt x="234" y="3403"/>
                  </a:cubicBezTo>
                  <a:cubicBezTo>
                    <a:pt x="100" y="4003"/>
                    <a:pt x="500" y="4203"/>
                    <a:pt x="967" y="4337"/>
                  </a:cubicBezTo>
                  <a:cubicBezTo>
                    <a:pt x="1201" y="2903"/>
                    <a:pt x="1434" y="1468"/>
                    <a:pt x="166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4" name="Google Shape;334;p30"/>
            <p:cNvSpPr/>
            <p:nvPr/>
          </p:nvSpPr>
          <p:spPr>
            <a:xfrm>
              <a:off x="10225625" y="1145088"/>
              <a:ext cx="376125" cy="411175"/>
            </a:xfrm>
            <a:custGeom>
              <a:avLst/>
              <a:gdLst/>
              <a:ahLst/>
              <a:cxnLst/>
              <a:rect l="l" t="t" r="r" b="b"/>
              <a:pathLst>
                <a:path w="15045" h="16447" extrusionOk="0">
                  <a:moveTo>
                    <a:pt x="3161" y="0"/>
                  </a:moveTo>
                  <a:cubicBezTo>
                    <a:pt x="2467" y="0"/>
                    <a:pt x="2172" y="342"/>
                    <a:pt x="2035" y="1247"/>
                  </a:cubicBezTo>
                  <a:cubicBezTo>
                    <a:pt x="1701" y="3248"/>
                    <a:pt x="1401" y="5250"/>
                    <a:pt x="1068" y="7251"/>
                  </a:cubicBezTo>
                  <a:cubicBezTo>
                    <a:pt x="767" y="9286"/>
                    <a:pt x="434" y="11287"/>
                    <a:pt x="134" y="13322"/>
                  </a:cubicBezTo>
                  <a:cubicBezTo>
                    <a:pt x="0" y="14023"/>
                    <a:pt x="134" y="14590"/>
                    <a:pt x="934" y="14723"/>
                  </a:cubicBezTo>
                  <a:cubicBezTo>
                    <a:pt x="4537" y="15290"/>
                    <a:pt x="8106" y="15857"/>
                    <a:pt x="11708" y="16424"/>
                  </a:cubicBezTo>
                  <a:cubicBezTo>
                    <a:pt x="11793" y="16439"/>
                    <a:pt x="11874" y="16447"/>
                    <a:pt x="11950" y="16447"/>
                  </a:cubicBezTo>
                  <a:cubicBezTo>
                    <a:pt x="12389" y="16447"/>
                    <a:pt x="12696" y="16201"/>
                    <a:pt x="12809" y="15690"/>
                  </a:cubicBezTo>
                  <a:cubicBezTo>
                    <a:pt x="12909" y="15357"/>
                    <a:pt x="13009" y="14990"/>
                    <a:pt x="13076" y="14623"/>
                  </a:cubicBezTo>
                  <a:cubicBezTo>
                    <a:pt x="13677" y="10954"/>
                    <a:pt x="14244" y="7251"/>
                    <a:pt x="14844" y="3582"/>
                  </a:cubicBezTo>
                  <a:cubicBezTo>
                    <a:pt x="15044" y="2181"/>
                    <a:pt x="14777" y="1814"/>
                    <a:pt x="13443" y="1580"/>
                  </a:cubicBezTo>
                  <a:cubicBezTo>
                    <a:pt x="10174" y="1047"/>
                    <a:pt x="6938" y="546"/>
                    <a:pt x="3669" y="46"/>
                  </a:cubicBezTo>
                  <a:cubicBezTo>
                    <a:pt x="3480" y="16"/>
                    <a:pt x="3311" y="0"/>
                    <a:pt x="3161"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5" name="Google Shape;335;p30"/>
            <p:cNvSpPr/>
            <p:nvPr/>
          </p:nvSpPr>
          <p:spPr>
            <a:xfrm>
              <a:off x="10296500" y="998688"/>
              <a:ext cx="331100" cy="83875"/>
            </a:xfrm>
            <a:custGeom>
              <a:avLst/>
              <a:gdLst/>
              <a:ahLst/>
              <a:cxnLst/>
              <a:rect l="l" t="t" r="r" b="b"/>
              <a:pathLst>
                <a:path w="13244" h="3355" extrusionOk="0">
                  <a:moveTo>
                    <a:pt x="913" y="1"/>
                  </a:moveTo>
                  <a:cubicBezTo>
                    <a:pt x="487" y="1"/>
                    <a:pt x="148" y="182"/>
                    <a:pt x="67" y="665"/>
                  </a:cubicBezTo>
                  <a:cubicBezTo>
                    <a:pt x="0" y="1299"/>
                    <a:pt x="467" y="1499"/>
                    <a:pt x="1001" y="1565"/>
                  </a:cubicBezTo>
                  <a:cubicBezTo>
                    <a:pt x="2869" y="1866"/>
                    <a:pt x="4704" y="2166"/>
                    <a:pt x="6538" y="2433"/>
                  </a:cubicBezTo>
                  <a:cubicBezTo>
                    <a:pt x="8340" y="2733"/>
                    <a:pt x="10174" y="3000"/>
                    <a:pt x="11976" y="3300"/>
                  </a:cubicBezTo>
                  <a:cubicBezTo>
                    <a:pt x="12136" y="3330"/>
                    <a:pt x="12293" y="3354"/>
                    <a:pt x="12438" y="3354"/>
                  </a:cubicBezTo>
                  <a:cubicBezTo>
                    <a:pt x="12777" y="3354"/>
                    <a:pt x="13050" y="3223"/>
                    <a:pt x="13143" y="2733"/>
                  </a:cubicBezTo>
                  <a:cubicBezTo>
                    <a:pt x="13243" y="2066"/>
                    <a:pt x="12843" y="1866"/>
                    <a:pt x="12276" y="1799"/>
                  </a:cubicBezTo>
                  <a:cubicBezTo>
                    <a:pt x="8573" y="1199"/>
                    <a:pt x="4904" y="631"/>
                    <a:pt x="1235" y="31"/>
                  </a:cubicBezTo>
                  <a:cubicBezTo>
                    <a:pt x="1124" y="12"/>
                    <a:pt x="1016" y="1"/>
                    <a:pt x="913" y="1"/>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6" name="Google Shape;336;p30"/>
            <p:cNvSpPr/>
            <p:nvPr/>
          </p:nvSpPr>
          <p:spPr>
            <a:xfrm>
              <a:off x="10058825" y="1671563"/>
              <a:ext cx="101775" cy="90025"/>
            </a:xfrm>
            <a:custGeom>
              <a:avLst/>
              <a:gdLst/>
              <a:ahLst/>
              <a:cxnLst/>
              <a:rect l="l" t="t" r="r" b="b"/>
              <a:pathLst>
                <a:path w="4071" h="3601" extrusionOk="0">
                  <a:moveTo>
                    <a:pt x="1298" y="1"/>
                  </a:moveTo>
                  <a:cubicBezTo>
                    <a:pt x="1090" y="1"/>
                    <a:pt x="880" y="21"/>
                    <a:pt x="668" y="69"/>
                  </a:cubicBezTo>
                  <a:cubicBezTo>
                    <a:pt x="501" y="135"/>
                    <a:pt x="401" y="235"/>
                    <a:pt x="334" y="369"/>
                  </a:cubicBezTo>
                  <a:cubicBezTo>
                    <a:pt x="268" y="569"/>
                    <a:pt x="234" y="769"/>
                    <a:pt x="201" y="969"/>
                  </a:cubicBezTo>
                  <a:cubicBezTo>
                    <a:pt x="167" y="1136"/>
                    <a:pt x="134" y="1336"/>
                    <a:pt x="101" y="1536"/>
                  </a:cubicBezTo>
                  <a:cubicBezTo>
                    <a:pt x="67" y="1737"/>
                    <a:pt x="34" y="1937"/>
                    <a:pt x="34" y="2137"/>
                  </a:cubicBezTo>
                  <a:cubicBezTo>
                    <a:pt x="1" y="2337"/>
                    <a:pt x="134" y="2504"/>
                    <a:pt x="201" y="2704"/>
                  </a:cubicBezTo>
                  <a:cubicBezTo>
                    <a:pt x="256" y="3071"/>
                    <a:pt x="345" y="3189"/>
                    <a:pt x="449" y="3189"/>
                  </a:cubicBezTo>
                  <a:cubicBezTo>
                    <a:pt x="639" y="3189"/>
                    <a:pt x="878" y="2793"/>
                    <a:pt x="1054" y="2793"/>
                  </a:cubicBezTo>
                  <a:cubicBezTo>
                    <a:pt x="1070" y="2793"/>
                    <a:pt x="1086" y="2796"/>
                    <a:pt x="1101" y="2804"/>
                  </a:cubicBezTo>
                  <a:cubicBezTo>
                    <a:pt x="1323" y="2676"/>
                    <a:pt x="1533" y="2621"/>
                    <a:pt x="1734" y="2621"/>
                  </a:cubicBezTo>
                  <a:cubicBezTo>
                    <a:pt x="2109" y="2621"/>
                    <a:pt x="2456" y="2811"/>
                    <a:pt x="2803" y="3071"/>
                  </a:cubicBezTo>
                  <a:cubicBezTo>
                    <a:pt x="2808" y="3070"/>
                    <a:pt x="2812" y="3070"/>
                    <a:pt x="2817" y="3070"/>
                  </a:cubicBezTo>
                  <a:cubicBezTo>
                    <a:pt x="3028" y="3070"/>
                    <a:pt x="3052" y="3601"/>
                    <a:pt x="3280" y="3601"/>
                  </a:cubicBezTo>
                  <a:cubicBezTo>
                    <a:pt x="3358" y="3601"/>
                    <a:pt x="3461" y="3539"/>
                    <a:pt x="3603" y="3371"/>
                  </a:cubicBezTo>
                  <a:cubicBezTo>
                    <a:pt x="3703" y="2604"/>
                    <a:pt x="3803" y="1837"/>
                    <a:pt x="3903" y="1069"/>
                  </a:cubicBezTo>
                  <a:cubicBezTo>
                    <a:pt x="3937" y="803"/>
                    <a:pt x="4070" y="436"/>
                    <a:pt x="3670" y="402"/>
                  </a:cubicBezTo>
                  <a:cubicBezTo>
                    <a:pt x="2875" y="296"/>
                    <a:pt x="2101" y="1"/>
                    <a:pt x="1298"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7" name="Google Shape;337;p30"/>
            <p:cNvSpPr/>
            <p:nvPr/>
          </p:nvSpPr>
          <p:spPr>
            <a:xfrm>
              <a:off x="9978775" y="1634988"/>
              <a:ext cx="636300" cy="189875"/>
            </a:xfrm>
            <a:custGeom>
              <a:avLst/>
              <a:gdLst/>
              <a:ahLst/>
              <a:cxnLst/>
              <a:rect l="l" t="t" r="r" b="b"/>
              <a:pathLst>
                <a:path w="25452" h="7595" extrusionOk="0">
                  <a:moveTo>
                    <a:pt x="2295" y="1"/>
                  </a:moveTo>
                  <a:cubicBezTo>
                    <a:pt x="1790" y="1"/>
                    <a:pt x="1364" y="186"/>
                    <a:pt x="1068" y="698"/>
                  </a:cubicBezTo>
                  <a:cubicBezTo>
                    <a:pt x="0" y="2232"/>
                    <a:pt x="567" y="3700"/>
                    <a:pt x="2402" y="4000"/>
                  </a:cubicBezTo>
                  <a:cubicBezTo>
                    <a:pt x="2736" y="4033"/>
                    <a:pt x="3069" y="4100"/>
                    <a:pt x="3403" y="4167"/>
                  </a:cubicBezTo>
                  <a:cubicBezTo>
                    <a:pt x="3436" y="3967"/>
                    <a:pt x="3470" y="3767"/>
                    <a:pt x="3503" y="3566"/>
                  </a:cubicBezTo>
                  <a:cubicBezTo>
                    <a:pt x="3536" y="3366"/>
                    <a:pt x="3570" y="3200"/>
                    <a:pt x="3603" y="2999"/>
                  </a:cubicBezTo>
                  <a:cubicBezTo>
                    <a:pt x="3603" y="2833"/>
                    <a:pt x="3636" y="2632"/>
                    <a:pt x="3670" y="2466"/>
                  </a:cubicBezTo>
                  <a:cubicBezTo>
                    <a:pt x="3703" y="2266"/>
                    <a:pt x="3736" y="2099"/>
                    <a:pt x="3770" y="1899"/>
                  </a:cubicBezTo>
                  <a:cubicBezTo>
                    <a:pt x="3770" y="1832"/>
                    <a:pt x="3803" y="1799"/>
                    <a:pt x="3803" y="1732"/>
                  </a:cubicBezTo>
                  <a:cubicBezTo>
                    <a:pt x="4370" y="1832"/>
                    <a:pt x="4937" y="1865"/>
                    <a:pt x="5504" y="1965"/>
                  </a:cubicBezTo>
                  <a:cubicBezTo>
                    <a:pt x="6739" y="2165"/>
                    <a:pt x="6739" y="2165"/>
                    <a:pt x="6605" y="3366"/>
                  </a:cubicBezTo>
                  <a:cubicBezTo>
                    <a:pt x="6538" y="3867"/>
                    <a:pt x="6272" y="4434"/>
                    <a:pt x="6805" y="4834"/>
                  </a:cubicBezTo>
                  <a:cubicBezTo>
                    <a:pt x="7172" y="4901"/>
                    <a:pt x="7539" y="4934"/>
                    <a:pt x="7906" y="5001"/>
                  </a:cubicBezTo>
                  <a:cubicBezTo>
                    <a:pt x="12776" y="5768"/>
                    <a:pt x="17646" y="6535"/>
                    <a:pt x="22550" y="7302"/>
                  </a:cubicBezTo>
                  <a:cubicBezTo>
                    <a:pt x="23084" y="7369"/>
                    <a:pt x="23651" y="7469"/>
                    <a:pt x="24184" y="7569"/>
                  </a:cubicBezTo>
                  <a:cubicBezTo>
                    <a:pt x="24268" y="7586"/>
                    <a:pt x="24344" y="7595"/>
                    <a:pt x="24412" y="7595"/>
                  </a:cubicBezTo>
                  <a:cubicBezTo>
                    <a:pt x="24745" y="7595"/>
                    <a:pt x="24879" y="7391"/>
                    <a:pt x="24851" y="7002"/>
                  </a:cubicBezTo>
                  <a:lnTo>
                    <a:pt x="24952" y="6969"/>
                  </a:lnTo>
                  <a:cubicBezTo>
                    <a:pt x="24952" y="6802"/>
                    <a:pt x="24985" y="6602"/>
                    <a:pt x="24985" y="6402"/>
                  </a:cubicBezTo>
                  <a:cubicBezTo>
                    <a:pt x="25018" y="6235"/>
                    <a:pt x="25052" y="6035"/>
                    <a:pt x="25052" y="5835"/>
                  </a:cubicBezTo>
                  <a:cubicBezTo>
                    <a:pt x="25085" y="5668"/>
                    <a:pt x="25118" y="5468"/>
                    <a:pt x="25152" y="5301"/>
                  </a:cubicBezTo>
                  <a:cubicBezTo>
                    <a:pt x="25185" y="5101"/>
                    <a:pt x="25218" y="4934"/>
                    <a:pt x="25252" y="4734"/>
                  </a:cubicBezTo>
                  <a:cubicBezTo>
                    <a:pt x="25252" y="4601"/>
                    <a:pt x="25285" y="4500"/>
                    <a:pt x="25285" y="4367"/>
                  </a:cubicBezTo>
                  <a:cubicBezTo>
                    <a:pt x="25352" y="4134"/>
                    <a:pt x="25419" y="3900"/>
                    <a:pt x="25452" y="3667"/>
                  </a:cubicBezTo>
                  <a:cubicBezTo>
                    <a:pt x="17880" y="2466"/>
                    <a:pt x="10274" y="1231"/>
                    <a:pt x="2669" y="31"/>
                  </a:cubicBezTo>
                  <a:cubicBezTo>
                    <a:pt x="2540" y="11"/>
                    <a:pt x="2415" y="1"/>
                    <a:pt x="2295"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338" name="Google Shape;338;p30"/>
          <p:cNvSpPr/>
          <p:nvPr/>
        </p:nvSpPr>
        <p:spPr>
          <a:xfrm>
            <a:off x="562659" y="2676961"/>
            <a:ext cx="389495" cy="389495"/>
          </a:xfrm>
          <a:custGeom>
            <a:avLst/>
            <a:gdLst/>
            <a:ahLst/>
            <a:cxnLst/>
            <a:rect l="l" t="t" r="r" b="b"/>
            <a:pathLst>
              <a:path w="7994" h="7994" extrusionOk="0">
                <a:moveTo>
                  <a:pt x="3997" y="0"/>
                </a:moveTo>
                <a:cubicBezTo>
                  <a:pt x="3537" y="0"/>
                  <a:pt x="3160" y="377"/>
                  <a:pt x="3160" y="837"/>
                </a:cubicBezTo>
                <a:lnTo>
                  <a:pt x="3160" y="3160"/>
                </a:lnTo>
                <a:lnTo>
                  <a:pt x="858" y="3160"/>
                </a:lnTo>
                <a:cubicBezTo>
                  <a:pt x="377" y="3160"/>
                  <a:pt x="1" y="3536"/>
                  <a:pt x="1" y="3997"/>
                </a:cubicBezTo>
                <a:cubicBezTo>
                  <a:pt x="1" y="4457"/>
                  <a:pt x="377" y="4834"/>
                  <a:pt x="858" y="4834"/>
                </a:cubicBezTo>
                <a:lnTo>
                  <a:pt x="3160" y="4834"/>
                </a:lnTo>
                <a:lnTo>
                  <a:pt x="3160" y="7156"/>
                </a:lnTo>
                <a:cubicBezTo>
                  <a:pt x="3160" y="7617"/>
                  <a:pt x="3537" y="7993"/>
                  <a:pt x="3997" y="7993"/>
                </a:cubicBezTo>
                <a:cubicBezTo>
                  <a:pt x="4457" y="7993"/>
                  <a:pt x="4855" y="7617"/>
                  <a:pt x="4855" y="7156"/>
                </a:cubicBezTo>
                <a:lnTo>
                  <a:pt x="4855" y="4834"/>
                </a:lnTo>
                <a:lnTo>
                  <a:pt x="7156" y="4834"/>
                </a:lnTo>
                <a:cubicBezTo>
                  <a:pt x="7617" y="4834"/>
                  <a:pt x="7993" y="4457"/>
                  <a:pt x="7993" y="3997"/>
                </a:cubicBezTo>
                <a:cubicBezTo>
                  <a:pt x="7993" y="3536"/>
                  <a:pt x="7617" y="3160"/>
                  <a:pt x="7156" y="3160"/>
                </a:cubicBezTo>
                <a:lnTo>
                  <a:pt x="4855" y="3160"/>
                </a:lnTo>
                <a:lnTo>
                  <a:pt x="4855" y="837"/>
                </a:lnTo>
                <a:cubicBezTo>
                  <a:pt x="4855" y="377"/>
                  <a:pt x="4457" y="0"/>
                  <a:pt x="3997"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9" name="Google Shape;339;p30"/>
          <p:cNvSpPr/>
          <p:nvPr/>
        </p:nvSpPr>
        <p:spPr>
          <a:xfrm>
            <a:off x="3936991" y="5661632"/>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340" name="Google Shape;340;p30"/>
          <p:cNvGrpSpPr/>
          <p:nvPr/>
        </p:nvGrpSpPr>
        <p:grpSpPr>
          <a:xfrm rot="397212">
            <a:off x="3022651" y="2320817"/>
            <a:ext cx="530676" cy="548352"/>
            <a:chOff x="6319908" y="3696721"/>
            <a:chExt cx="373963" cy="343119"/>
          </a:xfrm>
        </p:grpSpPr>
        <p:sp>
          <p:nvSpPr>
            <p:cNvPr id="341" name="Google Shape;341;p30"/>
            <p:cNvSpPr/>
            <p:nvPr/>
          </p:nvSpPr>
          <p:spPr>
            <a:xfrm>
              <a:off x="6378049" y="3745325"/>
              <a:ext cx="48315" cy="66180"/>
            </a:xfrm>
            <a:custGeom>
              <a:avLst/>
              <a:gdLst/>
              <a:ahLst/>
              <a:cxnLst/>
              <a:rect l="l" t="t" r="r" b="b"/>
              <a:pathLst>
                <a:path w="1839" h="2519" extrusionOk="0">
                  <a:moveTo>
                    <a:pt x="0" y="1"/>
                  </a:moveTo>
                  <a:lnTo>
                    <a:pt x="0" y="2519"/>
                  </a:lnTo>
                  <a:lnTo>
                    <a:pt x="1838" y="923"/>
                  </a:lnTo>
                  <a:lnTo>
                    <a:pt x="1838" y="1"/>
                  </a:lnTo>
                  <a:close/>
                </a:path>
              </a:pathLst>
            </a:custGeom>
            <a:solidFill>
              <a:srgbClr val="B7C2C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2" name="Google Shape;342;p30"/>
            <p:cNvSpPr/>
            <p:nvPr/>
          </p:nvSpPr>
          <p:spPr>
            <a:xfrm>
              <a:off x="6401195" y="3745325"/>
              <a:ext cx="25169" cy="46135"/>
            </a:xfrm>
            <a:custGeom>
              <a:avLst/>
              <a:gdLst/>
              <a:ahLst/>
              <a:cxnLst/>
              <a:rect l="l" t="t" r="r" b="b"/>
              <a:pathLst>
                <a:path w="958" h="1756" extrusionOk="0">
                  <a:moveTo>
                    <a:pt x="0" y="1"/>
                  </a:moveTo>
                  <a:lnTo>
                    <a:pt x="0" y="1756"/>
                  </a:lnTo>
                  <a:lnTo>
                    <a:pt x="957" y="923"/>
                  </a:lnTo>
                  <a:lnTo>
                    <a:pt x="957" y="1"/>
                  </a:lnTo>
                  <a:close/>
                </a:path>
              </a:pathLst>
            </a:custGeom>
            <a:solidFill>
              <a:srgbClr val="9FAEB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3" name="Google Shape;343;p30"/>
            <p:cNvSpPr/>
            <p:nvPr/>
          </p:nvSpPr>
          <p:spPr>
            <a:xfrm>
              <a:off x="6366016" y="3736813"/>
              <a:ext cx="281562" cy="303027"/>
            </a:xfrm>
            <a:custGeom>
              <a:avLst/>
              <a:gdLst/>
              <a:ahLst/>
              <a:cxnLst/>
              <a:rect l="l" t="t" r="r" b="b"/>
              <a:pathLst>
                <a:path w="10717" h="11534" extrusionOk="0">
                  <a:moveTo>
                    <a:pt x="5359" y="1"/>
                  </a:moveTo>
                  <a:cubicBezTo>
                    <a:pt x="5333" y="1"/>
                    <a:pt x="5307" y="9"/>
                    <a:pt x="5286" y="27"/>
                  </a:cubicBezTo>
                  <a:lnTo>
                    <a:pt x="0" y="4625"/>
                  </a:lnTo>
                  <a:lnTo>
                    <a:pt x="0" y="11222"/>
                  </a:lnTo>
                  <a:cubicBezTo>
                    <a:pt x="0" y="11395"/>
                    <a:pt x="146" y="11534"/>
                    <a:pt x="319" y="11534"/>
                  </a:cubicBezTo>
                  <a:lnTo>
                    <a:pt x="10405" y="11534"/>
                  </a:lnTo>
                  <a:cubicBezTo>
                    <a:pt x="10578" y="11534"/>
                    <a:pt x="10717" y="11395"/>
                    <a:pt x="10717" y="11222"/>
                  </a:cubicBezTo>
                  <a:lnTo>
                    <a:pt x="10717" y="4625"/>
                  </a:lnTo>
                  <a:lnTo>
                    <a:pt x="5431" y="27"/>
                  </a:lnTo>
                  <a:cubicBezTo>
                    <a:pt x="5411" y="9"/>
                    <a:pt x="5385" y="1"/>
                    <a:pt x="5359" y="1"/>
                  </a:cubicBezTo>
                  <a:close/>
                </a:path>
              </a:pathLst>
            </a:custGeom>
            <a:solidFill>
              <a:srgbClr val="879AA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4" name="Google Shape;344;p30"/>
            <p:cNvSpPr/>
            <p:nvPr/>
          </p:nvSpPr>
          <p:spPr>
            <a:xfrm>
              <a:off x="6493753" y="3736813"/>
              <a:ext cx="153825" cy="303027"/>
            </a:xfrm>
            <a:custGeom>
              <a:avLst/>
              <a:gdLst/>
              <a:ahLst/>
              <a:cxnLst/>
              <a:rect l="l" t="t" r="r" b="b"/>
              <a:pathLst>
                <a:path w="5855" h="11534" extrusionOk="0">
                  <a:moveTo>
                    <a:pt x="497" y="1"/>
                  </a:moveTo>
                  <a:cubicBezTo>
                    <a:pt x="471" y="1"/>
                    <a:pt x="445" y="9"/>
                    <a:pt x="424" y="27"/>
                  </a:cubicBezTo>
                  <a:lnTo>
                    <a:pt x="1" y="394"/>
                  </a:lnTo>
                  <a:cubicBezTo>
                    <a:pt x="1901" y="2010"/>
                    <a:pt x="4918" y="4625"/>
                    <a:pt x="4918" y="4625"/>
                  </a:cubicBezTo>
                  <a:lnTo>
                    <a:pt x="4918" y="11222"/>
                  </a:lnTo>
                  <a:cubicBezTo>
                    <a:pt x="4918" y="11395"/>
                    <a:pt x="4773" y="11534"/>
                    <a:pt x="4599" y="11534"/>
                  </a:cubicBezTo>
                  <a:lnTo>
                    <a:pt x="5543" y="11534"/>
                  </a:lnTo>
                  <a:cubicBezTo>
                    <a:pt x="5716" y="11534"/>
                    <a:pt x="5855" y="11395"/>
                    <a:pt x="5855" y="11222"/>
                  </a:cubicBezTo>
                  <a:lnTo>
                    <a:pt x="5855" y="4625"/>
                  </a:lnTo>
                  <a:lnTo>
                    <a:pt x="569" y="27"/>
                  </a:lnTo>
                  <a:cubicBezTo>
                    <a:pt x="549" y="9"/>
                    <a:pt x="523" y="1"/>
                    <a:pt x="497" y="1"/>
                  </a:cubicBezTo>
                  <a:close/>
                </a:path>
              </a:pathLst>
            </a:custGeom>
            <a:solidFill>
              <a:srgbClr val="707F8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5" name="Google Shape;345;p30"/>
            <p:cNvSpPr/>
            <p:nvPr/>
          </p:nvSpPr>
          <p:spPr>
            <a:xfrm>
              <a:off x="6366200" y="3726750"/>
              <a:ext cx="70174" cy="22069"/>
            </a:xfrm>
            <a:custGeom>
              <a:avLst/>
              <a:gdLst/>
              <a:ahLst/>
              <a:cxnLst/>
              <a:rect l="l" t="t" r="r" b="b"/>
              <a:pathLst>
                <a:path w="2671" h="840" extrusionOk="0">
                  <a:moveTo>
                    <a:pt x="118" y="0"/>
                  </a:moveTo>
                  <a:cubicBezTo>
                    <a:pt x="49" y="0"/>
                    <a:pt x="0" y="49"/>
                    <a:pt x="0" y="118"/>
                  </a:cubicBezTo>
                  <a:lnTo>
                    <a:pt x="0" y="722"/>
                  </a:lnTo>
                  <a:cubicBezTo>
                    <a:pt x="0" y="791"/>
                    <a:pt x="49" y="840"/>
                    <a:pt x="118" y="840"/>
                  </a:cubicBezTo>
                  <a:lnTo>
                    <a:pt x="2553" y="840"/>
                  </a:lnTo>
                  <a:cubicBezTo>
                    <a:pt x="2615" y="840"/>
                    <a:pt x="2671" y="791"/>
                    <a:pt x="2671" y="722"/>
                  </a:cubicBezTo>
                  <a:lnTo>
                    <a:pt x="2671" y="118"/>
                  </a:lnTo>
                  <a:cubicBezTo>
                    <a:pt x="2671" y="49"/>
                    <a:pt x="2615" y="0"/>
                    <a:pt x="2553" y="0"/>
                  </a:cubicBezTo>
                  <a:close/>
                </a:path>
              </a:pathLst>
            </a:custGeom>
            <a:solidFill>
              <a:srgbClr val="57697A"/>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6" name="Google Shape;346;p30"/>
            <p:cNvSpPr/>
            <p:nvPr/>
          </p:nvSpPr>
          <p:spPr>
            <a:xfrm>
              <a:off x="6467691" y="3889298"/>
              <a:ext cx="85123" cy="150541"/>
            </a:xfrm>
            <a:custGeom>
              <a:avLst/>
              <a:gdLst/>
              <a:ahLst/>
              <a:cxnLst/>
              <a:rect l="l" t="t" r="r" b="b"/>
              <a:pathLst>
                <a:path w="3240" h="5730" extrusionOk="0">
                  <a:moveTo>
                    <a:pt x="292" y="0"/>
                  </a:moveTo>
                  <a:cubicBezTo>
                    <a:pt x="133" y="0"/>
                    <a:pt x="1" y="132"/>
                    <a:pt x="1" y="292"/>
                  </a:cubicBezTo>
                  <a:lnTo>
                    <a:pt x="1" y="5730"/>
                  </a:lnTo>
                  <a:lnTo>
                    <a:pt x="3240" y="5730"/>
                  </a:lnTo>
                  <a:lnTo>
                    <a:pt x="3240" y="292"/>
                  </a:lnTo>
                  <a:cubicBezTo>
                    <a:pt x="3240" y="132"/>
                    <a:pt x="3108" y="0"/>
                    <a:pt x="2942" y="0"/>
                  </a:cubicBezTo>
                  <a:close/>
                </a:path>
              </a:pathLst>
            </a:custGeom>
            <a:solidFill>
              <a:srgbClr val="57697A"/>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7" name="Google Shape;347;p30"/>
            <p:cNvSpPr/>
            <p:nvPr/>
          </p:nvSpPr>
          <p:spPr>
            <a:xfrm>
              <a:off x="6519632" y="3889298"/>
              <a:ext cx="33182" cy="150541"/>
            </a:xfrm>
            <a:custGeom>
              <a:avLst/>
              <a:gdLst/>
              <a:ahLst/>
              <a:cxnLst/>
              <a:rect l="l" t="t" r="r" b="b"/>
              <a:pathLst>
                <a:path w="1263" h="5730" extrusionOk="0">
                  <a:moveTo>
                    <a:pt x="1" y="0"/>
                  </a:moveTo>
                  <a:cubicBezTo>
                    <a:pt x="167" y="0"/>
                    <a:pt x="299" y="132"/>
                    <a:pt x="299" y="292"/>
                  </a:cubicBezTo>
                  <a:lnTo>
                    <a:pt x="299" y="5730"/>
                  </a:lnTo>
                  <a:lnTo>
                    <a:pt x="1263" y="5730"/>
                  </a:lnTo>
                  <a:lnTo>
                    <a:pt x="1263" y="292"/>
                  </a:lnTo>
                  <a:cubicBezTo>
                    <a:pt x="1263" y="132"/>
                    <a:pt x="1131" y="0"/>
                    <a:pt x="965" y="0"/>
                  </a:cubicBezTo>
                  <a:close/>
                </a:path>
              </a:pathLst>
            </a:custGeom>
            <a:solidFill>
              <a:srgbClr val="22394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8" name="Google Shape;348;p30"/>
            <p:cNvSpPr/>
            <p:nvPr/>
          </p:nvSpPr>
          <p:spPr>
            <a:xfrm>
              <a:off x="6319908" y="3696721"/>
              <a:ext cx="373963" cy="165096"/>
            </a:xfrm>
            <a:custGeom>
              <a:avLst/>
              <a:gdLst/>
              <a:ahLst/>
              <a:cxnLst/>
              <a:rect l="l" t="t" r="r" b="b"/>
              <a:pathLst>
                <a:path w="14234" h="6284" extrusionOk="0">
                  <a:moveTo>
                    <a:pt x="7114" y="1"/>
                  </a:moveTo>
                  <a:cubicBezTo>
                    <a:pt x="7088" y="1"/>
                    <a:pt x="7062" y="9"/>
                    <a:pt x="7041" y="27"/>
                  </a:cubicBezTo>
                  <a:lnTo>
                    <a:pt x="77" y="6089"/>
                  </a:lnTo>
                  <a:cubicBezTo>
                    <a:pt x="1" y="6158"/>
                    <a:pt x="49" y="6283"/>
                    <a:pt x="153" y="6283"/>
                  </a:cubicBezTo>
                  <a:lnTo>
                    <a:pt x="1762" y="6283"/>
                  </a:lnTo>
                  <a:lnTo>
                    <a:pt x="7041" y="1691"/>
                  </a:lnTo>
                  <a:cubicBezTo>
                    <a:pt x="7062" y="1674"/>
                    <a:pt x="7088" y="1665"/>
                    <a:pt x="7114" y="1665"/>
                  </a:cubicBezTo>
                  <a:cubicBezTo>
                    <a:pt x="7140" y="1665"/>
                    <a:pt x="7166" y="1674"/>
                    <a:pt x="7186" y="1691"/>
                  </a:cubicBezTo>
                  <a:lnTo>
                    <a:pt x="12472" y="6283"/>
                  </a:lnTo>
                  <a:lnTo>
                    <a:pt x="14081" y="6283"/>
                  </a:lnTo>
                  <a:cubicBezTo>
                    <a:pt x="14185" y="6283"/>
                    <a:pt x="14234" y="6158"/>
                    <a:pt x="14150" y="6089"/>
                  </a:cubicBezTo>
                  <a:lnTo>
                    <a:pt x="7186" y="27"/>
                  </a:lnTo>
                  <a:cubicBezTo>
                    <a:pt x="7166" y="9"/>
                    <a:pt x="7140" y="1"/>
                    <a:pt x="7114" y="1"/>
                  </a:cubicBezTo>
                  <a:close/>
                </a:path>
              </a:pathLst>
            </a:custGeom>
            <a:solidFill>
              <a:srgbClr val="8797A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9" name="Google Shape;349;p30"/>
            <p:cNvSpPr/>
            <p:nvPr/>
          </p:nvSpPr>
          <p:spPr>
            <a:xfrm>
              <a:off x="6411021" y="3726750"/>
              <a:ext cx="25353" cy="22253"/>
            </a:xfrm>
            <a:custGeom>
              <a:avLst/>
              <a:gdLst/>
              <a:ahLst/>
              <a:cxnLst/>
              <a:rect l="l" t="t" r="r" b="b"/>
              <a:pathLst>
                <a:path w="965" h="847" extrusionOk="0">
                  <a:moveTo>
                    <a:pt x="1" y="0"/>
                  </a:moveTo>
                  <a:lnTo>
                    <a:pt x="1" y="847"/>
                  </a:lnTo>
                  <a:lnTo>
                    <a:pt x="847" y="847"/>
                  </a:lnTo>
                  <a:cubicBezTo>
                    <a:pt x="909" y="847"/>
                    <a:pt x="965" y="791"/>
                    <a:pt x="965" y="729"/>
                  </a:cubicBezTo>
                  <a:lnTo>
                    <a:pt x="965" y="118"/>
                  </a:lnTo>
                  <a:cubicBezTo>
                    <a:pt x="965" y="56"/>
                    <a:pt x="909" y="0"/>
                    <a:pt x="847" y="0"/>
                  </a:cubicBezTo>
                  <a:close/>
                </a:path>
              </a:pathLst>
            </a:custGeom>
            <a:solidFill>
              <a:srgbClr val="22394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350" name="Google Shape;350;p30"/>
          <p:cNvSpPr txBox="1">
            <a:spLocks noGrp="1"/>
          </p:cNvSpPr>
          <p:nvPr>
            <p:ph type="title" idx="2"/>
          </p:nvPr>
        </p:nvSpPr>
        <p:spPr>
          <a:xfrm>
            <a:off x="5494817" y="1896033"/>
            <a:ext cx="1568800" cy="487600"/>
          </a:xfrm>
          <a:prstGeom prst="rect">
            <a:avLst/>
          </a:prstGeom>
        </p:spPr>
        <p:txBody>
          <a:bodyPr spcFirstLastPara="1" wrap="square" lIns="121900" tIns="121900" rIns="121900" bIns="121900" anchor="ctr" anchorCtr="0">
            <a:noAutofit/>
          </a:bodyPr>
          <a:lstStyle/>
          <a:p>
            <a:r>
              <a:rPr lang="en"/>
              <a:t>Action:</a:t>
            </a:r>
            <a:endParaRPr/>
          </a:p>
        </p:txBody>
      </p:sp>
      <p:sp>
        <p:nvSpPr>
          <p:cNvPr id="351" name="Google Shape;351;p30"/>
          <p:cNvSpPr/>
          <p:nvPr/>
        </p:nvSpPr>
        <p:spPr>
          <a:xfrm>
            <a:off x="4417527" y="1639658"/>
            <a:ext cx="211501" cy="199337"/>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1096410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55"/>
        <p:cNvGrpSpPr/>
        <p:nvPr/>
      </p:nvGrpSpPr>
      <p:grpSpPr>
        <a:xfrm>
          <a:off x="0" y="0"/>
          <a:ext cx="0" cy="0"/>
          <a:chOff x="0" y="0"/>
          <a:chExt cx="0" cy="0"/>
        </a:xfrm>
      </p:grpSpPr>
      <p:sp>
        <p:nvSpPr>
          <p:cNvPr id="356" name="Google Shape;356;p31"/>
          <p:cNvSpPr txBox="1">
            <a:spLocks noGrp="1"/>
          </p:cNvSpPr>
          <p:nvPr>
            <p:ph type="subTitle" idx="1"/>
          </p:nvPr>
        </p:nvSpPr>
        <p:spPr>
          <a:xfrm>
            <a:off x="982200" y="1678667"/>
            <a:ext cx="4778800" cy="4019200"/>
          </a:xfrm>
          <a:prstGeom prst="rect">
            <a:avLst/>
          </a:prstGeom>
        </p:spPr>
        <p:txBody>
          <a:bodyPr spcFirstLastPara="1" wrap="square" lIns="121900" tIns="121900" rIns="121900" bIns="121900" anchor="ctr" anchorCtr="0">
            <a:noAutofit/>
          </a:bodyPr>
          <a:lstStyle/>
          <a:p>
            <a:pPr marL="0" indent="0" algn="l"/>
            <a:r>
              <a:rPr lang="en" sz="2267" b="1">
                <a:latin typeface="Libre Baskerville"/>
                <a:ea typeface="Libre Baskerville"/>
                <a:cs typeface="Libre Baskerville"/>
                <a:sym typeface="Libre Baskerville"/>
              </a:rPr>
              <a:t>Identifying the Issue</a:t>
            </a:r>
            <a:endParaRPr sz="2267" b="1">
              <a:latin typeface="Libre Baskerville"/>
              <a:ea typeface="Libre Baskerville"/>
              <a:cs typeface="Libre Baskerville"/>
              <a:sym typeface="Libre Baskerville"/>
            </a:endParaRPr>
          </a:p>
          <a:p>
            <a:pPr marL="609585" indent="-440256" algn="l">
              <a:spcBef>
                <a:spcPts val="1333"/>
              </a:spcBef>
              <a:buSzPts val="1600"/>
              <a:buChar char="●"/>
            </a:pPr>
            <a:r>
              <a:rPr lang="en" sz="2400"/>
              <a:t>Mental health crisis in light of pandemic</a:t>
            </a:r>
            <a:endParaRPr sz="2400"/>
          </a:p>
          <a:p>
            <a:pPr marL="609585" indent="-440256" algn="l">
              <a:spcBef>
                <a:spcPts val="1333"/>
              </a:spcBef>
              <a:spcAft>
                <a:spcPts val="1333"/>
              </a:spcAft>
              <a:buSzPts val="1600"/>
              <a:buChar char="●"/>
            </a:pPr>
            <a:r>
              <a:rPr lang="en" sz="2400"/>
              <a:t>Expect students to require mental health services as we transition back to in-person learning</a:t>
            </a:r>
            <a:endParaRPr sz="2400"/>
          </a:p>
        </p:txBody>
      </p:sp>
      <p:sp>
        <p:nvSpPr>
          <p:cNvPr id="357" name="Google Shape;357;p31"/>
          <p:cNvSpPr txBox="1">
            <a:spLocks noGrp="1"/>
          </p:cNvSpPr>
          <p:nvPr>
            <p:ph type="title"/>
          </p:nvPr>
        </p:nvSpPr>
        <p:spPr>
          <a:xfrm>
            <a:off x="1794400" y="471932"/>
            <a:ext cx="8603200" cy="1144800"/>
          </a:xfrm>
          <a:prstGeom prst="rect">
            <a:avLst/>
          </a:prstGeom>
        </p:spPr>
        <p:txBody>
          <a:bodyPr spcFirstLastPara="1" wrap="square" lIns="121900" tIns="121900" rIns="121900" bIns="121900" anchor="ctr" anchorCtr="0">
            <a:noAutofit/>
          </a:bodyPr>
          <a:lstStyle/>
          <a:p>
            <a:pPr>
              <a:buClr>
                <a:schemeClr val="dk1"/>
              </a:buClr>
              <a:buSzPts val="1100"/>
            </a:pPr>
            <a:r>
              <a:rPr lang="en" u="sng"/>
              <a:t>Mental Health Initiative</a:t>
            </a:r>
            <a:endParaRPr u="sng"/>
          </a:p>
        </p:txBody>
      </p:sp>
      <p:sp>
        <p:nvSpPr>
          <p:cNvPr id="358" name="Google Shape;358;p31"/>
          <p:cNvSpPr txBox="1">
            <a:spLocks noGrp="1"/>
          </p:cNvSpPr>
          <p:nvPr>
            <p:ph type="subTitle" idx="1"/>
          </p:nvPr>
        </p:nvSpPr>
        <p:spPr>
          <a:xfrm>
            <a:off x="6319100" y="1505467"/>
            <a:ext cx="4978400" cy="4830800"/>
          </a:xfrm>
          <a:prstGeom prst="rect">
            <a:avLst/>
          </a:prstGeom>
        </p:spPr>
        <p:txBody>
          <a:bodyPr spcFirstLastPara="1" wrap="square" lIns="121900" tIns="121900" rIns="121900" bIns="121900" anchor="ctr" anchorCtr="0">
            <a:noAutofit/>
          </a:bodyPr>
          <a:lstStyle/>
          <a:p>
            <a:pPr marL="0" indent="0"/>
            <a:r>
              <a:rPr lang="en" sz="2267" b="1">
                <a:latin typeface="Libre Baskerville"/>
                <a:ea typeface="Libre Baskerville"/>
                <a:cs typeface="Libre Baskerville"/>
                <a:sym typeface="Libre Baskerville"/>
              </a:rPr>
              <a:t>Goals</a:t>
            </a:r>
            <a:endParaRPr sz="2267" b="1">
              <a:latin typeface="Libre Baskerville"/>
              <a:ea typeface="Libre Baskerville"/>
              <a:cs typeface="Libre Baskerville"/>
              <a:sym typeface="Libre Baskerville"/>
            </a:endParaRPr>
          </a:p>
          <a:p>
            <a:pPr marL="609585" indent="-440256" algn="l">
              <a:spcBef>
                <a:spcPts val="1333"/>
              </a:spcBef>
              <a:buSzPts val="1600"/>
              <a:buChar char="●"/>
            </a:pPr>
            <a:r>
              <a:rPr lang="en" sz="2400"/>
              <a:t>Connect students to mental health services on campus</a:t>
            </a:r>
            <a:endParaRPr sz="2400"/>
          </a:p>
          <a:p>
            <a:pPr marL="609585" indent="-457189" algn="l">
              <a:spcBef>
                <a:spcPts val="1333"/>
              </a:spcBef>
              <a:buChar char="●"/>
            </a:pPr>
            <a:r>
              <a:rPr lang="en" sz="2400"/>
              <a:t>Spread resource awareness</a:t>
            </a:r>
            <a:endParaRPr sz="2400"/>
          </a:p>
          <a:p>
            <a:pPr marL="609585" indent="-457189" algn="l">
              <a:spcBef>
                <a:spcPts val="1333"/>
              </a:spcBef>
              <a:buChar char="●"/>
            </a:pPr>
            <a:r>
              <a:rPr lang="en" sz="2400"/>
              <a:t>Create open discourse about mental health</a:t>
            </a:r>
            <a:endParaRPr sz="2400"/>
          </a:p>
          <a:p>
            <a:pPr marL="609585" indent="-457189" algn="l">
              <a:spcBef>
                <a:spcPts val="1333"/>
              </a:spcBef>
              <a:spcAft>
                <a:spcPts val="1333"/>
              </a:spcAft>
              <a:buChar char="●"/>
            </a:pPr>
            <a:r>
              <a:rPr lang="en" sz="2400"/>
              <a:t>Create spaces for mental health relief</a:t>
            </a:r>
            <a:endParaRPr sz="2400"/>
          </a:p>
        </p:txBody>
      </p:sp>
    </p:spTree>
    <p:extLst>
      <p:ext uri="{BB962C8B-B14F-4D97-AF65-F5344CB8AC3E}">
        <p14:creationId xmlns:p14="http://schemas.microsoft.com/office/powerpoint/2010/main" val="17478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62"/>
        <p:cNvGrpSpPr/>
        <p:nvPr/>
      </p:nvGrpSpPr>
      <p:grpSpPr>
        <a:xfrm>
          <a:off x="0" y="0"/>
          <a:ext cx="0" cy="0"/>
          <a:chOff x="0" y="0"/>
          <a:chExt cx="0" cy="0"/>
        </a:xfrm>
      </p:grpSpPr>
      <p:sp>
        <p:nvSpPr>
          <p:cNvPr id="363" name="Google Shape;363;p32"/>
          <p:cNvSpPr txBox="1">
            <a:spLocks noGrp="1"/>
          </p:cNvSpPr>
          <p:nvPr>
            <p:ph type="title" idx="2"/>
          </p:nvPr>
        </p:nvSpPr>
        <p:spPr>
          <a:xfrm>
            <a:off x="952200" y="628800"/>
            <a:ext cx="10287600" cy="487600"/>
          </a:xfrm>
          <a:prstGeom prst="rect">
            <a:avLst/>
          </a:prstGeom>
        </p:spPr>
        <p:txBody>
          <a:bodyPr spcFirstLastPara="1" wrap="square" lIns="121900" tIns="121900" rIns="121900" bIns="121900" anchor="ctr" anchorCtr="0">
            <a:noAutofit/>
          </a:bodyPr>
          <a:lstStyle/>
          <a:p>
            <a:pPr algn="ctr">
              <a:buClr>
                <a:schemeClr val="dk1"/>
              </a:buClr>
              <a:buSzPts val="1100"/>
            </a:pPr>
            <a:r>
              <a:rPr lang="en" u="sng"/>
              <a:t>Campus Inclusion Initiative</a:t>
            </a:r>
            <a:endParaRPr u="sng"/>
          </a:p>
        </p:txBody>
      </p:sp>
      <p:sp>
        <p:nvSpPr>
          <p:cNvPr id="364" name="Google Shape;364;p32"/>
          <p:cNvSpPr txBox="1">
            <a:spLocks noGrp="1"/>
          </p:cNvSpPr>
          <p:nvPr>
            <p:ph type="title"/>
          </p:nvPr>
        </p:nvSpPr>
        <p:spPr>
          <a:xfrm>
            <a:off x="700669" y="1556833"/>
            <a:ext cx="3334000" cy="487600"/>
          </a:xfrm>
          <a:prstGeom prst="rect">
            <a:avLst/>
          </a:prstGeom>
        </p:spPr>
        <p:txBody>
          <a:bodyPr spcFirstLastPara="1" wrap="square" lIns="121900" tIns="121900" rIns="121900" bIns="121900" anchor="ctr" anchorCtr="0">
            <a:noAutofit/>
          </a:bodyPr>
          <a:lstStyle/>
          <a:p>
            <a:r>
              <a:rPr lang="en" sz="2400"/>
              <a:t>What is the issue? </a:t>
            </a:r>
            <a:endParaRPr sz="2400"/>
          </a:p>
        </p:txBody>
      </p:sp>
      <p:sp>
        <p:nvSpPr>
          <p:cNvPr id="365" name="Google Shape;365;p32"/>
          <p:cNvSpPr txBox="1">
            <a:spLocks noGrp="1"/>
          </p:cNvSpPr>
          <p:nvPr>
            <p:ph type="subTitle" idx="1"/>
          </p:nvPr>
        </p:nvSpPr>
        <p:spPr>
          <a:xfrm>
            <a:off x="304267" y="1967467"/>
            <a:ext cx="3944800" cy="4480000"/>
          </a:xfrm>
          <a:prstGeom prst="rect">
            <a:avLst/>
          </a:prstGeom>
        </p:spPr>
        <p:txBody>
          <a:bodyPr spcFirstLastPara="1" wrap="square" lIns="121900" tIns="121900" rIns="121900" bIns="121900" anchor="ctr" anchorCtr="0">
            <a:noAutofit/>
          </a:bodyPr>
          <a:lstStyle/>
          <a:p>
            <a:pPr marL="609585" indent="-423323">
              <a:buSzPts val="1400"/>
              <a:buChar char="●"/>
            </a:pPr>
            <a:r>
              <a:rPr lang="en"/>
              <a:t>Students who have been away from campus, haven’t formed relationships with their peers or professors.</a:t>
            </a:r>
            <a:endParaRPr/>
          </a:p>
          <a:p>
            <a:pPr marL="0" indent="0">
              <a:spcBef>
                <a:spcPts val="1333"/>
              </a:spcBef>
            </a:pPr>
            <a:endParaRPr/>
          </a:p>
          <a:p>
            <a:pPr marL="609585" indent="-423323">
              <a:spcBef>
                <a:spcPts val="1333"/>
              </a:spcBef>
              <a:spcAft>
                <a:spcPts val="1333"/>
              </a:spcAft>
              <a:buSzPts val="1400"/>
              <a:buChar char="●"/>
            </a:pPr>
            <a:r>
              <a:rPr lang="en"/>
              <a:t>Can prevent them from having proper communication and networking connections in the future.</a:t>
            </a:r>
            <a:endParaRPr/>
          </a:p>
        </p:txBody>
      </p:sp>
      <p:sp>
        <p:nvSpPr>
          <p:cNvPr id="366" name="Google Shape;366;p32"/>
          <p:cNvSpPr/>
          <p:nvPr/>
        </p:nvSpPr>
        <p:spPr>
          <a:xfrm>
            <a:off x="16622500" y="5943401"/>
            <a:ext cx="458133" cy="581033"/>
          </a:xfrm>
          <a:custGeom>
            <a:avLst/>
            <a:gdLst/>
            <a:ahLst/>
            <a:cxnLst/>
            <a:rect l="l" t="t" r="r" b="b"/>
            <a:pathLst>
              <a:path w="13744" h="17431" extrusionOk="0">
                <a:moveTo>
                  <a:pt x="13252" y="1"/>
                </a:moveTo>
                <a:cubicBezTo>
                  <a:pt x="13215" y="1"/>
                  <a:pt x="13179" y="6"/>
                  <a:pt x="13143" y="18"/>
                </a:cubicBezTo>
                <a:cubicBezTo>
                  <a:pt x="1" y="4088"/>
                  <a:pt x="167" y="16897"/>
                  <a:pt x="167" y="16997"/>
                </a:cubicBezTo>
                <a:cubicBezTo>
                  <a:pt x="167" y="17231"/>
                  <a:pt x="334" y="17431"/>
                  <a:pt x="568" y="17431"/>
                </a:cubicBezTo>
                <a:cubicBezTo>
                  <a:pt x="801" y="17431"/>
                  <a:pt x="1001" y="17231"/>
                  <a:pt x="1001" y="16997"/>
                </a:cubicBezTo>
                <a:cubicBezTo>
                  <a:pt x="968" y="16497"/>
                  <a:pt x="868" y="4688"/>
                  <a:pt x="13377" y="819"/>
                </a:cubicBezTo>
                <a:cubicBezTo>
                  <a:pt x="13610" y="752"/>
                  <a:pt x="13744" y="519"/>
                  <a:pt x="13677" y="285"/>
                </a:cubicBezTo>
                <a:cubicBezTo>
                  <a:pt x="13595" y="120"/>
                  <a:pt x="13422" y="1"/>
                  <a:pt x="1325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7" name="Google Shape;367;p32"/>
          <p:cNvSpPr/>
          <p:nvPr/>
        </p:nvSpPr>
        <p:spPr>
          <a:xfrm>
            <a:off x="10486458" y="737348"/>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8" name="Google Shape;368;p32"/>
          <p:cNvSpPr txBox="1">
            <a:spLocks noGrp="1"/>
          </p:cNvSpPr>
          <p:nvPr>
            <p:ph type="title"/>
          </p:nvPr>
        </p:nvSpPr>
        <p:spPr>
          <a:xfrm>
            <a:off x="4476203" y="1556833"/>
            <a:ext cx="3334000" cy="487600"/>
          </a:xfrm>
          <a:prstGeom prst="rect">
            <a:avLst/>
          </a:prstGeom>
        </p:spPr>
        <p:txBody>
          <a:bodyPr spcFirstLastPara="1" wrap="square" lIns="121900" tIns="121900" rIns="121900" bIns="121900" anchor="ctr" anchorCtr="0">
            <a:noAutofit/>
          </a:bodyPr>
          <a:lstStyle/>
          <a:p>
            <a:pPr algn="ctr"/>
            <a:r>
              <a:rPr lang="en" sz="2400"/>
              <a:t>Action plan:</a:t>
            </a:r>
            <a:endParaRPr sz="2400"/>
          </a:p>
        </p:txBody>
      </p:sp>
      <p:sp>
        <p:nvSpPr>
          <p:cNvPr id="369" name="Google Shape;369;p32"/>
          <p:cNvSpPr txBox="1">
            <a:spLocks noGrp="1"/>
          </p:cNvSpPr>
          <p:nvPr>
            <p:ph type="subTitle" idx="1"/>
          </p:nvPr>
        </p:nvSpPr>
        <p:spPr>
          <a:xfrm>
            <a:off x="4097600" y="1926767"/>
            <a:ext cx="3996800" cy="4367600"/>
          </a:xfrm>
          <a:prstGeom prst="rect">
            <a:avLst/>
          </a:prstGeom>
        </p:spPr>
        <p:txBody>
          <a:bodyPr spcFirstLastPara="1" wrap="square" lIns="121900" tIns="121900" rIns="121900" bIns="121900" anchor="ctr" anchorCtr="0">
            <a:noAutofit/>
          </a:bodyPr>
          <a:lstStyle/>
          <a:p>
            <a:pPr marL="609585" indent="-423323">
              <a:buSzPts val="1400"/>
              <a:buChar char="●"/>
            </a:pPr>
            <a:r>
              <a:rPr lang="en"/>
              <a:t>Have an on-campus program that will help students get used to being on campus </a:t>
            </a:r>
            <a:endParaRPr/>
          </a:p>
          <a:p>
            <a:pPr marL="0" indent="0">
              <a:spcBef>
                <a:spcPts val="1333"/>
              </a:spcBef>
            </a:pPr>
            <a:endParaRPr/>
          </a:p>
          <a:p>
            <a:pPr marL="609585" indent="-423323">
              <a:spcBef>
                <a:spcPts val="1333"/>
              </a:spcBef>
              <a:spcAft>
                <a:spcPts val="1333"/>
              </a:spcAft>
              <a:buSzPts val="1400"/>
              <a:buChar char="●"/>
            </a:pPr>
            <a:r>
              <a:rPr lang="en"/>
              <a:t>Work with the website that was established by the former senate to provide students with outlets and access to resources</a:t>
            </a:r>
            <a:endParaRPr/>
          </a:p>
        </p:txBody>
      </p:sp>
      <p:sp>
        <p:nvSpPr>
          <p:cNvPr id="370" name="Google Shape;370;p32"/>
          <p:cNvSpPr txBox="1">
            <a:spLocks noGrp="1"/>
          </p:cNvSpPr>
          <p:nvPr>
            <p:ph type="title"/>
          </p:nvPr>
        </p:nvSpPr>
        <p:spPr>
          <a:xfrm>
            <a:off x="8357669" y="1479851"/>
            <a:ext cx="3334000" cy="487600"/>
          </a:xfrm>
          <a:prstGeom prst="rect">
            <a:avLst/>
          </a:prstGeom>
        </p:spPr>
        <p:txBody>
          <a:bodyPr spcFirstLastPara="1" wrap="square" lIns="121900" tIns="121900" rIns="121900" bIns="121900" anchor="ctr" anchorCtr="0">
            <a:noAutofit/>
          </a:bodyPr>
          <a:lstStyle/>
          <a:p>
            <a:pPr algn="ctr"/>
            <a:r>
              <a:rPr lang="en" sz="2400"/>
              <a:t>Goals:</a:t>
            </a:r>
            <a:endParaRPr sz="2400"/>
          </a:p>
        </p:txBody>
      </p:sp>
      <p:sp>
        <p:nvSpPr>
          <p:cNvPr id="371" name="Google Shape;371;p32"/>
          <p:cNvSpPr txBox="1">
            <a:spLocks noGrp="1"/>
          </p:cNvSpPr>
          <p:nvPr>
            <p:ph type="subTitle" idx="1"/>
          </p:nvPr>
        </p:nvSpPr>
        <p:spPr>
          <a:xfrm>
            <a:off x="8241600" y="2153433"/>
            <a:ext cx="3411600" cy="3604400"/>
          </a:xfrm>
          <a:prstGeom prst="rect">
            <a:avLst/>
          </a:prstGeom>
        </p:spPr>
        <p:txBody>
          <a:bodyPr spcFirstLastPara="1" wrap="square" lIns="121900" tIns="121900" rIns="121900" bIns="121900" anchor="ctr" anchorCtr="0">
            <a:noAutofit/>
          </a:bodyPr>
          <a:lstStyle/>
          <a:p>
            <a:pPr marL="609585" indent="-423323">
              <a:buSzPts val="1400"/>
              <a:buChar char="●"/>
            </a:pPr>
            <a:r>
              <a:rPr lang="en"/>
              <a:t>Have an on-campus program that will help students get used to being on campus </a:t>
            </a:r>
            <a:endParaRPr/>
          </a:p>
          <a:p>
            <a:pPr marL="0" indent="0">
              <a:spcBef>
                <a:spcPts val="1333"/>
              </a:spcBef>
            </a:pPr>
            <a:endParaRPr/>
          </a:p>
          <a:p>
            <a:pPr marL="609585" indent="-423323">
              <a:spcBef>
                <a:spcPts val="1333"/>
              </a:spcBef>
              <a:spcAft>
                <a:spcPts val="1333"/>
              </a:spcAft>
              <a:buSzPts val="1400"/>
              <a:buChar char="●"/>
            </a:pPr>
            <a:r>
              <a:rPr lang="en"/>
              <a:t>Use previous website to provide students with outlets and access to resources</a:t>
            </a:r>
            <a:endParaRPr/>
          </a:p>
        </p:txBody>
      </p:sp>
      <p:cxnSp>
        <p:nvCxnSpPr>
          <p:cNvPr id="372" name="Google Shape;372;p32"/>
          <p:cNvCxnSpPr/>
          <p:nvPr/>
        </p:nvCxnSpPr>
        <p:spPr>
          <a:xfrm flipH="1">
            <a:off x="4016067" y="1781333"/>
            <a:ext cx="25600" cy="4285600"/>
          </a:xfrm>
          <a:prstGeom prst="straightConnector1">
            <a:avLst/>
          </a:prstGeom>
          <a:noFill/>
          <a:ln w="9525" cap="flat" cmpd="sng">
            <a:solidFill>
              <a:schemeClr val="dk2"/>
            </a:solidFill>
            <a:prstDash val="solid"/>
            <a:round/>
            <a:headEnd type="none" w="med" len="med"/>
            <a:tailEnd type="none" w="med" len="med"/>
          </a:ln>
        </p:spPr>
      </p:cxnSp>
      <p:cxnSp>
        <p:nvCxnSpPr>
          <p:cNvPr id="373" name="Google Shape;373;p32"/>
          <p:cNvCxnSpPr/>
          <p:nvPr/>
        </p:nvCxnSpPr>
        <p:spPr>
          <a:xfrm flipH="1">
            <a:off x="8251733" y="1708667"/>
            <a:ext cx="25600" cy="4285600"/>
          </a:xfrm>
          <a:prstGeom prst="straightConnector1">
            <a:avLst/>
          </a:prstGeom>
          <a:noFill/>
          <a:ln w="9525" cap="flat" cmpd="sng">
            <a:solidFill>
              <a:schemeClr val="dk2"/>
            </a:solidFill>
            <a:prstDash val="solid"/>
            <a:round/>
            <a:headEnd type="none" w="med" len="med"/>
            <a:tailEnd type="none" w="med" len="med"/>
          </a:ln>
        </p:spPr>
      </p:cxnSp>
    </p:spTree>
    <p:extLst>
      <p:ext uri="{BB962C8B-B14F-4D97-AF65-F5344CB8AC3E}">
        <p14:creationId xmlns:p14="http://schemas.microsoft.com/office/powerpoint/2010/main" val="531498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77"/>
        <p:cNvGrpSpPr/>
        <p:nvPr/>
      </p:nvGrpSpPr>
      <p:grpSpPr>
        <a:xfrm>
          <a:off x="0" y="0"/>
          <a:ext cx="0" cy="0"/>
          <a:chOff x="0" y="0"/>
          <a:chExt cx="0" cy="0"/>
        </a:xfrm>
      </p:grpSpPr>
      <p:sp>
        <p:nvSpPr>
          <p:cNvPr id="378" name="Google Shape;378;p33"/>
          <p:cNvSpPr txBox="1">
            <a:spLocks noGrp="1"/>
          </p:cNvSpPr>
          <p:nvPr>
            <p:ph type="title"/>
          </p:nvPr>
        </p:nvSpPr>
        <p:spPr>
          <a:xfrm>
            <a:off x="703800" y="387567"/>
            <a:ext cx="10784400" cy="829600"/>
          </a:xfrm>
          <a:prstGeom prst="rect">
            <a:avLst/>
          </a:prstGeom>
        </p:spPr>
        <p:txBody>
          <a:bodyPr spcFirstLastPara="1" wrap="square" lIns="121900" tIns="121900" rIns="121900" bIns="121900" anchor="ctr" anchorCtr="0">
            <a:noAutofit/>
          </a:bodyPr>
          <a:lstStyle/>
          <a:p>
            <a:pPr algn="ctr"/>
            <a:r>
              <a:rPr lang="en" sz="3600"/>
              <a:t>Campus Resources Awareness Initiative </a:t>
            </a:r>
            <a:endParaRPr sz="3600"/>
          </a:p>
        </p:txBody>
      </p:sp>
      <p:sp>
        <p:nvSpPr>
          <p:cNvPr id="379" name="Google Shape;379;p33"/>
          <p:cNvSpPr txBox="1">
            <a:spLocks noGrp="1"/>
          </p:cNvSpPr>
          <p:nvPr>
            <p:ph type="subTitle" idx="1"/>
          </p:nvPr>
        </p:nvSpPr>
        <p:spPr>
          <a:xfrm>
            <a:off x="873633" y="1138633"/>
            <a:ext cx="7057600" cy="5326800"/>
          </a:xfrm>
          <a:prstGeom prst="rect">
            <a:avLst/>
          </a:prstGeom>
        </p:spPr>
        <p:txBody>
          <a:bodyPr spcFirstLastPara="1" wrap="square" lIns="121900" tIns="121900" rIns="121900" bIns="121900" anchor="ctr" anchorCtr="0">
            <a:noAutofit/>
          </a:bodyPr>
          <a:lstStyle/>
          <a:p>
            <a:pPr marL="0" indent="0">
              <a:buClr>
                <a:schemeClr val="dk1"/>
              </a:buClr>
              <a:buSzPts val="1100"/>
            </a:pPr>
            <a:r>
              <a:rPr lang="en"/>
              <a:t>Issue:</a:t>
            </a:r>
            <a:endParaRPr/>
          </a:p>
          <a:p>
            <a:pPr marL="609585" indent="-440256">
              <a:buSzPts val="1600"/>
              <a:buChar char="●"/>
            </a:pPr>
            <a:r>
              <a:rPr lang="en" sz="1867"/>
              <a:t>Cañada has many highly beneficial programs (that are especially important in light of the pandemic) that students are unaware of.</a:t>
            </a:r>
            <a:endParaRPr sz="1867"/>
          </a:p>
          <a:p>
            <a:pPr marL="609585" indent="-423323">
              <a:buSzPts val="1400"/>
              <a:buChar char="●"/>
            </a:pPr>
            <a:r>
              <a:rPr lang="en" sz="1867"/>
              <a:t>We are also excluded from UC Davis’ Transfer Opportunity Program (TOP).</a:t>
            </a:r>
            <a:endParaRPr sz="1867"/>
          </a:p>
          <a:p>
            <a:pPr marL="0" indent="0"/>
            <a:r>
              <a:rPr lang="en"/>
              <a:t>Goal:</a:t>
            </a:r>
            <a:endParaRPr/>
          </a:p>
          <a:p>
            <a:pPr marL="609585" indent="-440256">
              <a:buSzPts val="1600"/>
              <a:buChar char="●"/>
            </a:pPr>
            <a:r>
              <a:rPr lang="en" sz="1867"/>
              <a:t>To make our campus resources known and easily accessible for all members of the Cañada community.</a:t>
            </a:r>
            <a:endParaRPr sz="1867"/>
          </a:p>
          <a:p>
            <a:pPr marL="609585" indent="-423323">
              <a:buSzPts val="1400"/>
              <a:buChar char="●"/>
            </a:pPr>
            <a:r>
              <a:rPr lang="en" sz="1867"/>
              <a:t>To maximize on campus resources by gaining access to UC Davis’ TOP.</a:t>
            </a:r>
            <a:endParaRPr sz="1867"/>
          </a:p>
          <a:p>
            <a:pPr marL="0" indent="0">
              <a:buClr>
                <a:schemeClr val="dk1"/>
              </a:buClr>
              <a:buSzPts val="1100"/>
            </a:pPr>
            <a:r>
              <a:rPr lang="en"/>
              <a:t>Steps:</a:t>
            </a:r>
            <a:endParaRPr/>
          </a:p>
          <a:p>
            <a:pPr marL="609585" indent="-440256">
              <a:buSzPts val="1600"/>
              <a:buChar char="●"/>
            </a:pPr>
            <a:r>
              <a:rPr lang="en" sz="1867"/>
              <a:t>Connecting with the Welcome Center and Sarah Cortez for support and input.</a:t>
            </a:r>
            <a:endParaRPr sz="1867"/>
          </a:p>
          <a:p>
            <a:pPr marL="609585" indent="-423323">
              <a:buSzPts val="1400"/>
              <a:buChar char="●"/>
            </a:pPr>
            <a:r>
              <a:rPr lang="en" sz="1867"/>
              <a:t>Creating and distributing both a digital and physical method of accessing/learning about campus resources to all members of the Cañada community.</a:t>
            </a:r>
            <a:endParaRPr sz="1867"/>
          </a:p>
          <a:p>
            <a:pPr marL="609585" indent="-423323">
              <a:buSzPts val="1400"/>
              <a:buChar char="●"/>
            </a:pPr>
            <a:r>
              <a:rPr lang="en" sz="1867"/>
              <a:t>Pushing for access to UC Davis’ TOP.</a:t>
            </a:r>
            <a:endParaRPr sz="1867"/>
          </a:p>
        </p:txBody>
      </p:sp>
      <p:sp>
        <p:nvSpPr>
          <p:cNvPr id="380" name="Google Shape;380;p33"/>
          <p:cNvSpPr/>
          <p:nvPr/>
        </p:nvSpPr>
        <p:spPr>
          <a:xfrm>
            <a:off x="8418793" y="4317327"/>
            <a:ext cx="389495" cy="389495"/>
          </a:xfrm>
          <a:custGeom>
            <a:avLst/>
            <a:gdLst/>
            <a:ahLst/>
            <a:cxnLst/>
            <a:rect l="l" t="t" r="r" b="b"/>
            <a:pathLst>
              <a:path w="7994" h="7994" extrusionOk="0">
                <a:moveTo>
                  <a:pt x="3997" y="0"/>
                </a:moveTo>
                <a:cubicBezTo>
                  <a:pt x="3537" y="0"/>
                  <a:pt x="3160" y="377"/>
                  <a:pt x="3160" y="837"/>
                </a:cubicBezTo>
                <a:lnTo>
                  <a:pt x="3160" y="3160"/>
                </a:lnTo>
                <a:lnTo>
                  <a:pt x="858" y="3160"/>
                </a:lnTo>
                <a:cubicBezTo>
                  <a:pt x="377" y="3160"/>
                  <a:pt x="1" y="3536"/>
                  <a:pt x="1" y="3997"/>
                </a:cubicBezTo>
                <a:cubicBezTo>
                  <a:pt x="1" y="4457"/>
                  <a:pt x="377" y="4834"/>
                  <a:pt x="858" y="4834"/>
                </a:cubicBezTo>
                <a:lnTo>
                  <a:pt x="3160" y="4834"/>
                </a:lnTo>
                <a:lnTo>
                  <a:pt x="3160" y="7156"/>
                </a:lnTo>
                <a:cubicBezTo>
                  <a:pt x="3160" y="7617"/>
                  <a:pt x="3537" y="7993"/>
                  <a:pt x="3997" y="7993"/>
                </a:cubicBezTo>
                <a:cubicBezTo>
                  <a:pt x="4457" y="7993"/>
                  <a:pt x="4855" y="7617"/>
                  <a:pt x="4855" y="7156"/>
                </a:cubicBezTo>
                <a:lnTo>
                  <a:pt x="4855" y="4834"/>
                </a:lnTo>
                <a:lnTo>
                  <a:pt x="7156" y="4834"/>
                </a:lnTo>
                <a:cubicBezTo>
                  <a:pt x="7617" y="4834"/>
                  <a:pt x="7993" y="4457"/>
                  <a:pt x="7993" y="3997"/>
                </a:cubicBezTo>
                <a:cubicBezTo>
                  <a:pt x="7993" y="3536"/>
                  <a:pt x="7617" y="3160"/>
                  <a:pt x="7156" y="3160"/>
                </a:cubicBezTo>
                <a:lnTo>
                  <a:pt x="4855" y="3160"/>
                </a:lnTo>
                <a:lnTo>
                  <a:pt x="4855" y="837"/>
                </a:lnTo>
                <a:cubicBezTo>
                  <a:pt x="4855" y="377"/>
                  <a:pt x="4457" y="0"/>
                  <a:pt x="3997"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1" name="Google Shape;381;p33"/>
          <p:cNvSpPr/>
          <p:nvPr/>
        </p:nvSpPr>
        <p:spPr>
          <a:xfrm>
            <a:off x="10896658" y="4003332"/>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2" name="Google Shape;382;p33"/>
          <p:cNvSpPr/>
          <p:nvPr/>
        </p:nvSpPr>
        <p:spPr>
          <a:xfrm>
            <a:off x="9771357" y="2489095"/>
            <a:ext cx="769671" cy="769628"/>
          </a:xfrm>
          <a:custGeom>
            <a:avLst/>
            <a:gdLst/>
            <a:ahLst/>
            <a:cxnLst/>
            <a:rect l="l" t="t" r="r" b="b"/>
            <a:pathLst>
              <a:path w="4207" h="4207" extrusionOk="0">
                <a:moveTo>
                  <a:pt x="2093" y="1"/>
                </a:moveTo>
                <a:cubicBezTo>
                  <a:pt x="1863" y="1"/>
                  <a:pt x="1654" y="210"/>
                  <a:pt x="1654" y="440"/>
                </a:cubicBezTo>
                <a:lnTo>
                  <a:pt x="1654" y="1675"/>
                </a:lnTo>
                <a:lnTo>
                  <a:pt x="440" y="1675"/>
                </a:lnTo>
                <a:cubicBezTo>
                  <a:pt x="189" y="1675"/>
                  <a:pt x="1" y="1863"/>
                  <a:pt x="1" y="2114"/>
                </a:cubicBezTo>
                <a:cubicBezTo>
                  <a:pt x="1" y="2344"/>
                  <a:pt x="189" y="2553"/>
                  <a:pt x="440" y="2553"/>
                </a:cubicBezTo>
                <a:lnTo>
                  <a:pt x="1654" y="2553"/>
                </a:lnTo>
                <a:lnTo>
                  <a:pt x="1654" y="3767"/>
                </a:lnTo>
                <a:cubicBezTo>
                  <a:pt x="1654" y="4018"/>
                  <a:pt x="1863" y="4206"/>
                  <a:pt x="2093" y="4206"/>
                </a:cubicBezTo>
                <a:cubicBezTo>
                  <a:pt x="2344" y="4206"/>
                  <a:pt x="2533" y="4018"/>
                  <a:pt x="2533" y="3767"/>
                </a:cubicBezTo>
                <a:lnTo>
                  <a:pt x="2533" y="2553"/>
                </a:lnTo>
                <a:lnTo>
                  <a:pt x="3767" y="2553"/>
                </a:lnTo>
                <a:cubicBezTo>
                  <a:pt x="3997" y="2553"/>
                  <a:pt x="4206" y="2344"/>
                  <a:pt x="4206" y="2114"/>
                </a:cubicBezTo>
                <a:cubicBezTo>
                  <a:pt x="4206" y="1863"/>
                  <a:pt x="4018" y="1675"/>
                  <a:pt x="3767" y="1675"/>
                </a:cubicBezTo>
                <a:lnTo>
                  <a:pt x="2533" y="1675"/>
                </a:lnTo>
                <a:lnTo>
                  <a:pt x="2533" y="440"/>
                </a:lnTo>
                <a:cubicBezTo>
                  <a:pt x="2533" y="210"/>
                  <a:pt x="2344" y="1"/>
                  <a:pt x="2093" y="1"/>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383" name="Google Shape;383;p33"/>
          <p:cNvGrpSpPr/>
          <p:nvPr/>
        </p:nvGrpSpPr>
        <p:grpSpPr>
          <a:xfrm>
            <a:off x="8009649" y="4790092"/>
            <a:ext cx="3824081" cy="1380697"/>
            <a:chOff x="4189650" y="2440275"/>
            <a:chExt cx="4195525" cy="2055425"/>
          </a:xfrm>
        </p:grpSpPr>
        <p:sp>
          <p:nvSpPr>
            <p:cNvPr id="384" name="Google Shape;384;p33"/>
            <p:cNvSpPr/>
            <p:nvPr/>
          </p:nvSpPr>
          <p:spPr>
            <a:xfrm>
              <a:off x="4189650" y="4130425"/>
              <a:ext cx="4195525" cy="365275"/>
            </a:xfrm>
            <a:custGeom>
              <a:avLst/>
              <a:gdLst/>
              <a:ahLst/>
              <a:cxnLst/>
              <a:rect l="l" t="t" r="r" b="b"/>
              <a:pathLst>
                <a:path w="167821" h="14611" extrusionOk="0">
                  <a:moveTo>
                    <a:pt x="83894" y="0"/>
                  </a:moveTo>
                  <a:cubicBezTo>
                    <a:pt x="37561" y="0"/>
                    <a:pt x="1" y="3269"/>
                    <a:pt x="1" y="7305"/>
                  </a:cubicBezTo>
                  <a:cubicBezTo>
                    <a:pt x="1" y="11342"/>
                    <a:pt x="37561" y="14611"/>
                    <a:pt x="83894" y="14611"/>
                  </a:cubicBezTo>
                  <a:cubicBezTo>
                    <a:pt x="130227" y="14611"/>
                    <a:pt x="167820" y="11342"/>
                    <a:pt x="167820" y="7305"/>
                  </a:cubicBezTo>
                  <a:cubicBezTo>
                    <a:pt x="167820" y="3269"/>
                    <a:pt x="130227" y="0"/>
                    <a:pt x="83894" y="0"/>
                  </a:cubicBezTo>
                  <a:close/>
                </a:path>
              </a:pathLst>
            </a:custGeom>
            <a:solidFill>
              <a:srgbClr val="44373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5" name="Google Shape;385;p33"/>
            <p:cNvSpPr/>
            <p:nvPr/>
          </p:nvSpPr>
          <p:spPr>
            <a:xfrm>
              <a:off x="5619000" y="3139700"/>
              <a:ext cx="117625" cy="144300"/>
            </a:xfrm>
            <a:custGeom>
              <a:avLst/>
              <a:gdLst/>
              <a:ahLst/>
              <a:cxnLst/>
              <a:rect l="l" t="t" r="r" b="b"/>
              <a:pathLst>
                <a:path w="4705" h="5772" extrusionOk="0">
                  <a:moveTo>
                    <a:pt x="2202" y="1"/>
                  </a:moveTo>
                  <a:cubicBezTo>
                    <a:pt x="1969" y="1202"/>
                    <a:pt x="1635" y="2202"/>
                    <a:pt x="468" y="2603"/>
                  </a:cubicBezTo>
                  <a:cubicBezTo>
                    <a:pt x="460" y="2604"/>
                    <a:pt x="451" y="2605"/>
                    <a:pt x="442" y="2605"/>
                  </a:cubicBezTo>
                  <a:cubicBezTo>
                    <a:pt x="344" y="2605"/>
                    <a:pt x="212" y="2511"/>
                    <a:pt x="118" y="2511"/>
                  </a:cubicBezTo>
                  <a:cubicBezTo>
                    <a:pt x="49" y="2511"/>
                    <a:pt x="1" y="2562"/>
                    <a:pt x="1" y="2736"/>
                  </a:cubicBezTo>
                  <a:cubicBezTo>
                    <a:pt x="1" y="2970"/>
                    <a:pt x="134" y="3170"/>
                    <a:pt x="368" y="3270"/>
                  </a:cubicBezTo>
                  <a:cubicBezTo>
                    <a:pt x="901" y="3470"/>
                    <a:pt x="1468" y="3670"/>
                    <a:pt x="1735" y="4271"/>
                  </a:cubicBezTo>
                  <a:cubicBezTo>
                    <a:pt x="2002" y="4671"/>
                    <a:pt x="2102" y="5171"/>
                    <a:pt x="2202" y="5772"/>
                  </a:cubicBezTo>
                  <a:cubicBezTo>
                    <a:pt x="2603" y="4371"/>
                    <a:pt x="3203" y="3303"/>
                    <a:pt x="4704" y="2836"/>
                  </a:cubicBezTo>
                  <a:cubicBezTo>
                    <a:pt x="3503" y="2403"/>
                    <a:pt x="2769" y="1835"/>
                    <a:pt x="2536" y="735"/>
                  </a:cubicBezTo>
                  <a:cubicBezTo>
                    <a:pt x="2436" y="535"/>
                    <a:pt x="2336" y="334"/>
                    <a:pt x="2202" y="1"/>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6" name="Google Shape;386;p33"/>
            <p:cNvSpPr/>
            <p:nvPr/>
          </p:nvSpPr>
          <p:spPr>
            <a:xfrm>
              <a:off x="5515600" y="2769450"/>
              <a:ext cx="120100" cy="133000"/>
            </a:xfrm>
            <a:custGeom>
              <a:avLst/>
              <a:gdLst/>
              <a:ahLst/>
              <a:cxnLst/>
              <a:rect l="l" t="t" r="r" b="b"/>
              <a:pathLst>
                <a:path w="4804" h="5320" extrusionOk="0">
                  <a:moveTo>
                    <a:pt x="2235" y="0"/>
                  </a:moveTo>
                  <a:cubicBezTo>
                    <a:pt x="1835" y="1368"/>
                    <a:pt x="1401" y="2402"/>
                    <a:pt x="0" y="2569"/>
                  </a:cubicBezTo>
                  <a:cubicBezTo>
                    <a:pt x="0" y="2802"/>
                    <a:pt x="134" y="2902"/>
                    <a:pt x="334" y="2969"/>
                  </a:cubicBezTo>
                  <a:cubicBezTo>
                    <a:pt x="1268" y="3269"/>
                    <a:pt x="1802" y="3903"/>
                    <a:pt x="1969" y="4870"/>
                  </a:cubicBezTo>
                  <a:cubicBezTo>
                    <a:pt x="2069" y="5192"/>
                    <a:pt x="2109" y="5319"/>
                    <a:pt x="2190" y="5319"/>
                  </a:cubicBezTo>
                  <a:cubicBezTo>
                    <a:pt x="2244" y="5319"/>
                    <a:pt x="2316" y="5264"/>
                    <a:pt x="2436" y="5171"/>
                  </a:cubicBezTo>
                  <a:cubicBezTo>
                    <a:pt x="2602" y="3936"/>
                    <a:pt x="3370" y="3169"/>
                    <a:pt x="4804" y="2702"/>
                  </a:cubicBezTo>
                  <a:cubicBezTo>
                    <a:pt x="3236" y="2369"/>
                    <a:pt x="2636" y="1368"/>
                    <a:pt x="2235"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7" name="Google Shape;387;p33"/>
            <p:cNvSpPr/>
            <p:nvPr/>
          </p:nvSpPr>
          <p:spPr>
            <a:xfrm>
              <a:off x="6028475" y="3170575"/>
              <a:ext cx="75075" cy="90900"/>
            </a:xfrm>
            <a:custGeom>
              <a:avLst/>
              <a:gdLst/>
              <a:ahLst/>
              <a:cxnLst/>
              <a:rect l="l" t="t" r="r" b="b"/>
              <a:pathLst>
                <a:path w="3003" h="3636" extrusionOk="0">
                  <a:moveTo>
                    <a:pt x="1535" y="0"/>
                  </a:moveTo>
                  <a:cubicBezTo>
                    <a:pt x="1301" y="767"/>
                    <a:pt x="801" y="1268"/>
                    <a:pt x="0" y="1668"/>
                  </a:cubicBezTo>
                  <a:cubicBezTo>
                    <a:pt x="967" y="1935"/>
                    <a:pt x="1301" y="2569"/>
                    <a:pt x="1535" y="3636"/>
                  </a:cubicBezTo>
                  <a:cubicBezTo>
                    <a:pt x="1835" y="2535"/>
                    <a:pt x="2202" y="1901"/>
                    <a:pt x="3002" y="1701"/>
                  </a:cubicBezTo>
                  <a:cubicBezTo>
                    <a:pt x="2435" y="1234"/>
                    <a:pt x="1801" y="834"/>
                    <a:pt x="1535"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8" name="Google Shape;388;p33"/>
            <p:cNvSpPr/>
            <p:nvPr/>
          </p:nvSpPr>
          <p:spPr>
            <a:xfrm>
              <a:off x="6304500" y="3626725"/>
              <a:ext cx="88425" cy="103425"/>
            </a:xfrm>
            <a:custGeom>
              <a:avLst/>
              <a:gdLst/>
              <a:ahLst/>
              <a:cxnLst/>
              <a:rect l="l" t="t" r="r" b="b"/>
              <a:pathLst>
                <a:path w="3537" h="4137" extrusionOk="0">
                  <a:moveTo>
                    <a:pt x="1568" y="0"/>
                  </a:moveTo>
                  <a:cubicBezTo>
                    <a:pt x="1401" y="1068"/>
                    <a:pt x="1034" y="1802"/>
                    <a:pt x="0" y="2002"/>
                  </a:cubicBezTo>
                  <a:cubicBezTo>
                    <a:pt x="267" y="2669"/>
                    <a:pt x="1134" y="2702"/>
                    <a:pt x="1335" y="3436"/>
                  </a:cubicBezTo>
                  <a:cubicBezTo>
                    <a:pt x="1435" y="3603"/>
                    <a:pt x="1535" y="3803"/>
                    <a:pt x="1668" y="4137"/>
                  </a:cubicBezTo>
                  <a:cubicBezTo>
                    <a:pt x="2002" y="3203"/>
                    <a:pt x="2435" y="2502"/>
                    <a:pt x="3536" y="2102"/>
                  </a:cubicBezTo>
                  <a:cubicBezTo>
                    <a:pt x="2302" y="1768"/>
                    <a:pt x="1968" y="901"/>
                    <a:pt x="1568"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9" name="Google Shape;389;p33"/>
            <p:cNvSpPr/>
            <p:nvPr/>
          </p:nvSpPr>
          <p:spPr>
            <a:xfrm>
              <a:off x="6840700" y="3392400"/>
              <a:ext cx="90925" cy="111750"/>
            </a:xfrm>
            <a:custGeom>
              <a:avLst/>
              <a:gdLst/>
              <a:ahLst/>
              <a:cxnLst/>
              <a:rect l="l" t="t" r="r" b="b"/>
              <a:pathLst>
                <a:path w="3637" h="4470" extrusionOk="0">
                  <a:moveTo>
                    <a:pt x="1769" y="0"/>
                  </a:moveTo>
                  <a:cubicBezTo>
                    <a:pt x="1602" y="1168"/>
                    <a:pt x="1135" y="1835"/>
                    <a:pt x="1" y="2168"/>
                  </a:cubicBezTo>
                  <a:cubicBezTo>
                    <a:pt x="1135" y="2535"/>
                    <a:pt x="1569" y="3236"/>
                    <a:pt x="1802" y="4470"/>
                  </a:cubicBezTo>
                  <a:cubicBezTo>
                    <a:pt x="2102" y="3302"/>
                    <a:pt x="2569" y="2569"/>
                    <a:pt x="3637" y="2168"/>
                  </a:cubicBezTo>
                  <a:cubicBezTo>
                    <a:pt x="2569" y="1801"/>
                    <a:pt x="2102" y="1067"/>
                    <a:pt x="1769" y="0"/>
                  </a:cubicBezTo>
                  <a:close/>
                </a:path>
              </a:pathLst>
            </a:custGeom>
            <a:solidFill>
              <a:srgbClr val="ECECF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0" name="Google Shape;390;p33"/>
            <p:cNvSpPr/>
            <p:nvPr/>
          </p:nvSpPr>
          <p:spPr>
            <a:xfrm>
              <a:off x="6178575" y="2993775"/>
              <a:ext cx="25" cy="25"/>
            </a:xfrm>
            <a:custGeom>
              <a:avLst/>
              <a:gdLst/>
              <a:ahLst/>
              <a:cxnLst/>
              <a:rect l="l" t="t" r="r" b="b"/>
              <a:pathLst>
                <a:path w="1" h="1" extrusionOk="0">
                  <a:moveTo>
                    <a:pt x="0" y="0"/>
                  </a:moveTo>
                  <a:lnTo>
                    <a:pt x="0" y="0"/>
                  </a:lnTo>
                  <a:lnTo>
                    <a:pt x="0" y="0"/>
                  </a:lnTo>
                  <a:close/>
                </a:path>
              </a:pathLst>
            </a:custGeom>
            <a:solidFill>
              <a:srgbClr val="CCD7F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1" name="Google Shape;391;p33"/>
            <p:cNvSpPr/>
            <p:nvPr/>
          </p:nvSpPr>
          <p:spPr>
            <a:xfrm>
              <a:off x="6226950" y="3639225"/>
              <a:ext cx="110925" cy="147625"/>
            </a:xfrm>
            <a:custGeom>
              <a:avLst/>
              <a:gdLst/>
              <a:ahLst/>
              <a:cxnLst/>
              <a:rect l="l" t="t" r="r" b="b"/>
              <a:pathLst>
                <a:path w="4437" h="5905" extrusionOk="0">
                  <a:moveTo>
                    <a:pt x="2402" y="1"/>
                  </a:moveTo>
                  <a:cubicBezTo>
                    <a:pt x="2202" y="1302"/>
                    <a:pt x="1601" y="2336"/>
                    <a:pt x="0" y="2836"/>
                  </a:cubicBezTo>
                  <a:cubicBezTo>
                    <a:pt x="1668" y="3236"/>
                    <a:pt x="2168" y="4304"/>
                    <a:pt x="2435" y="5905"/>
                  </a:cubicBezTo>
                  <a:cubicBezTo>
                    <a:pt x="2735" y="4404"/>
                    <a:pt x="3336" y="3470"/>
                    <a:pt x="4437" y="2936"/>
                  </a:cubicBezTo>
                  <a:cubicBezTo>
                    <a:pt x="4236" y="2202"/>
                    <a:pt x="3369" y="2169"/>
                    <a:pt x="3102" y="1502"/>
                  </a:cubicBezTo>
                  <a:cubicBezTo>
                    <a:pt x="2869" y="1002"/>
                    <a:pt x="2635" y="501"/>
                    <a:pt x="2402" y="1"/>
                  </a:cubicBezTo>
                  <a:close/>
                </a:path>
              </a:pathLst>
            </a:custGeom>
            <a:solidFill>
              <a:srgbClr val="CCD7F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2" name="Google Shape;392;p33"/>
            <p:cNvSpPr/>
            <p:nvPr/>
          </p:nvSpPr>
          <p:spPr>
            <a:xfrm>
              <a:off x="6407075" y="3825950"/>
              <a:ext cx="1752925" cy="415425"/>
            </a:xfrm>
            <a:custGeom>
              <a:avLst/>
              <a:gdLst/>
              <a:ahLst/>
              <a:cxnLst/>
              <a:rect l="l" t="t" r="r" b="b"/>
              <a:pathLst>
                <a:path w="70117" h="16617" extrusionOk="0">
                  <a:moveTo>
                    <a:pt x="22824" y="1"/>
                  </a:moveTo>
                  <a:cubicBezTo>
                    <a:pt x="21576" y="1"/>
                    <a:pt x="20330" y="217"/>
                    <a:pt x="19114" y="404"/>
                  </a:cubicBezTo>
                  <a:cubicBezTo>
                    <a:pt x="13210" y="1238"/>
                    <a:pt x="7706" y="3106"/>
                    <a:pt x="3102" y="7042"/>
                  </a:cubicBezTo>
                  <a:cubicBezTo>
                    <a:pt x="1935" y="8010"/>
                    <a:pt x="667" y="8977"/>
                    <a:pt x="0" y="10445"/>
                  </a:cubicBezTo>
                  <a:cubicBezTo>
                    <a:pt x="34" y="10778"/>
                    <a:pt x="267" y="10945"/>
                    <a:pt x="534" y="11045"/>
                  </a:cubicBezTo>
                  <a:cubicBezTo>
                    <a:pt x="2569" y="12079"/>
                    <a:pt x="3970" y="13714"/>
                    <a:pt x="5071" y="15682"/>
                  </a:cubicBezTo>
                  <a:cubicBezTo>
                    <a:pt x="5237" y="16049"/>
                    <a:pt x="5437" y="16416"/>
                    <a:pt x="5871" y="16516"/>
                  </a:cubicBezTo>
                  <a:cubicBezTo>
                    <a:pt x="6046" y="16543"/>
                    <a:pt x="6220" y="16556"/>
                    <a:pt x="6394" y="16556"/>
                  </a:cubicBezTo>
                  <a:cubicBezTo>
                    <a:pt x="6854" y="16556"/>
                    <a:pt x="7313" y="16470"/>
                    <a:pt x="7772" y="16349"/>
                  </a:cubicBezTo>
                  <a:cubicBezTo>
                    <a:pt x="12609" y="15081"/>
                    <a:pt x="17613" y="14681"/>
                    <a:pt x="22583" y="14548"/>
                  </a:cubicBezTo>
                  <a:cubicBezTo>
                    <a:pt x="22891" y="14542"/>
                    <a:pt x="23199" y="14539"/>
                    <a:pt x="23507" y="14539"/>
                  </a:cubicBezTo>
                  <a:cubicBezTo>
                    <a:pt x="26735" y="14539"/>
                    <a:pt x="29963" y="14843"/>
                    <a:pt x="33191" y="15148"/>
                  </a:cubicBezTo>
                  <a:cubicBezTo>
                    <a:pt x="37694" y="15615"/>
                    <a:pt x="42197" y="16015"/>
                    <a:pt x="46700" y="16416"/>
                  </a:cubicBezTo>
                  <a:cubicBezTo>
                    <a:pt x="47467" y="16416"/>
                    <a:pt x="48235" y="16616"/>
                    <a:pt x="49002" y="16616"/>
                  </a:cubicBezTo>
                  <a:lnTo>
                    <a:pt x="68883" y="16616"/>
                  </a:lnTo>
                  <a:cubicBezTo>
                    <a:pt x="68949" y="16616"/>
                    <a:pt x="69016" y="16616"/>
                    <a:pt x="69083" y="16616"/>
                  </a:cubicBezTo>
                  <a:cubicBezTo>
                    <a:pt x="69448" y="16616"/>
                    <a:pt x="69807" y="16593"/>
                    <a:pt x="70117" y="16282"/>
                  </a:cubicBezTo>
                  <a:cubicBezTo>
                    <a:pt x="70050" y="16015"/>
                    <a:pt x="69984" y="15682"/>
                    <a:pt x="69917" y="15381"/>
                  </a:cubicBezTo>
                  <a:cubicBezTo>
                    <a:pt x="69817" y="14981"/>
                    <a:pt x="69717" y="14614"/>
                    <a:pt x="69583" y="14214"/>
                  </a:cubicBezTo>
                  <a:cubicBezTo>
                    <a:pt x="69362" y="14317"/>
                    <a:pt x="69133" y="14349"/>
                    <a:pt x="68904" y="14349"/>
                  </a:cubicBezTo>
                  <a:cubicBezTo>
                    <a:pt x="68616" y="14349"/>
                    <a:pt x="68327" y="14299"/>
                    <a:pt x="68049" y="14281"/>
                  </a:cubicBezTo>
                  <a:lnTo>
                    <a:pt x="68583" y="14281"/>
                  </a:lnTo>
                  <a:cubicBezTo>
                    <a:pt x="68694" y="14292"/>
                    <a:pt x="68805" y="14303"/>
                    <a:pt x="68915" y="14303"/>
                  </a:cubicBezTo>
                  <a:cubicBezTo>
                    <a:pt x="69135" y="14303"/>
                    <a:pt x="69350" y="14258"/>
                    <a:pt x="69550" y="14081"/>
                  </a:cubicBezTo>
                  <a:cubicBezTo>
                    <a:pt x="69150" y="13280"/>
                    <a:pt x="68716" y="12479"/>
                    <a:pt x="68449" y="11612"/>
                  </a:cubicBezTo>
                  <a:cubicBezTo>
                    <a:pt x="68015" y="10211"/>
                    <a:pt x="66681" y="9411"/>
                    <a:pt x="66147" y="8076"/>
                  </a:cubicBezTo>
                  <a:cubicBezTo>
                    <a:pt x="65814" y="7242"/>
                    <a:pt x="65447" y="6408"/>
                    <a:pt x="64713" y="5841"/>
                  </a:cubicBezTo>
                  <a:cubicBezTo>
                    <a:pt x="64380" y="5574"/>
                    <a:pt x="64013" y="5474"/>
                    <a:pt x="63579" y="5408"/>
                  </a:cubicBezTo>
                  <a:cubicBezTo>
                    <a:pt x="58942" y="4907"/>
                    <a:pt x="54339" y="4007"/>
                    <a:pt x="49736" y="3206"/>
                  </a:cubicBezTo>
                  <a:cubicBezTo>
                    <a:pt x="47201" y="2772"/>
                    <a:pt x="44699" y="2205"/>
                    <a:pt x="42164" y="1705"/>
                  </a:cubicBezTo>
                  <a:cubicBezTo>
                    <a:pt x="37060" y="738"/>
                    <a:pt x="31956" y="4"/>
                    <a:pt x="26753" y="4"/>
                  </a:cubicBezTo>
                  <a:lnTo>
                    <a:pt x="23083" y="4"/>
                  </a:lnTo>
                  <a:cubicBezTo>
                    <a:pt x="22997" y="2"/>
                    <a:pt x="22910" y="1"/>
                    <a:pt x="22824" y="1"/>
                  </a:cubicBezTo>
                  <a:close/>
                </a:path>
              </a:pathLst>
            </a:custGeom>
            <a:solidFill>
              <a:srgbClr val="CDB29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3" name="Google Shape;393;p33"/>
            <p:cNvSpPr/>
            <p:nvPr/>
          </p:nvSpPr>
          <p:spPr>
            <a:xfrm>
              <a:off x="4501550" y="3782850"/>
              <a:ext cx="1831325" cy="458825"/>
            </a:xfrm>
            <a:custGeom>
              <a:avLst/>
              <a:gdLst/>
              <a:ahLst/>
              <a:cxnLst/>
              <a:rect l="l" t="t" r="r" b="b"/>
              <a:pathLst>
                <a:path w="73253" h="18353" extrusionOk="0">
                  <a:moveTo>
                    <a:pt x="49783" y="1"/>
                  </a:moveTo>
                  <a:cubicBezTo>
                    <a:pt x="46677" y="1"/>
                    <a:pt x="43592" y="294"/>
                    <a:pt x="40529" y="694"/>
                  </a:cubicBezTo>
                  <a:cubicBezTo>
                    <a:pt x="33658" y="1628"/>
                    <a:pt x="26953" y="3296"/>
                    <a:pt x="20215" y="4697"/>
                  </a:cubicBezTo>
                  <a:cubicBezTo>
                    <a:pt x="15845" y="5597"/>
                    <a:pt x="11475" y="6364"/>
                    <a:pt x="7105" y="7098"/>
                  </a:cubicBezTo>
                  <a:cubicBezTo>
                    <a:pt x="6505" y="7165"/>
                    <a:pt x="5938" y="7232"/>
                    <a:pt x="5404" y="7565"/>
                  </a:cubicBezTo>
                  <a:cubicBezTo>
                    <a:pt x="4904" y="7966"/>
                    <a:pt x="4770" y="8599"/>
                    <a:pt x="4437" y="9133"/>
                  </a:cubicBezTo>
                  <a:cubicBezTo>
                    <a:pt x="3970" y="9934"/>
                    <a:pt x="3669" y="11034"/>
                    <a:pt x="2969" y="11535"/>
                  </a:cubicBezTo>
                  <a:cubicBezTo>
                    <a:pt x="2168" y="12135"/>
                    <a:pt x="1902" y="12836"/>
                    <a:pt x="1635" y="13636"/>
                  </a:cubicBezTo>
                  <a:cubicBezTo>
                    <a:pt x="1234" y="14737"/>
                    <a:pt x="801" y="15838"/>
                    <a:pt x="400" y="16939"/>
                  </a:cubicBezTo>
                  <a:cubicBezTo>
                    <a:pt x="512" y="17050"/>
                    <a:pt x="646" y="17093"/>
                    <a:pt x="788" y="17108"/>
                  </a:cubicBezTo>
                  <a:lnTo>
                    <a:pt x="788" y="17108"/>
                  </a:lnTo>
                  <a:cubicBezTo>
                    <a:pt x="583" y="17116"/>
                    <a:pt x="381" y="17150"/>
                    <a:pt x="200" y="17306"/>
                  </a:cubicBezTo>
                  <a:cubicBezTo>
                    <a:pt x="134" y="17539"/>
                    <a:pt x="67" y="17806"/>
                    <a:pt x="0" y="18039"/>
                  </a:cubicBezTo>
                  <a:cubicBezTo>
                    <a:pt x="289" y="18306"/>
                    <a:pt x="638" y="18351"/>
                    <a:pt x="986" y="18351"/>
                  </a:cubicBezTo>
                  <a:cubicBezTo>
                    <a:pt x="1160" y="18351"/>
                    <a:pt x="1334" y="18340"/>
                    <a:pt x="1501" y="18340"/>
                  </a:cubicBezTo>
                  <a:cubicBezTo>
                    <a:pt x="2225" y="18330"/>
                    <a:pt x="2949" y="18327"/>
                    <a:pt x="3672" y="18327"/>
                  </a:cubicBezTo>
                  <a:cubicBezTo>
                    <a:pt x="5650" y="18327"/>
                    <a:pt x="7627" y="18353"/>
                    <a:pt x="9604" y="18353"/>
                  </a:cubicBezTo>
                  <a:cubicBezTo>
                    <a:pt x="12040" y="18353"/>
                    <a:pt x="14476" y="18314"/>
                    <a:pt x="16912" y="18140"/>
                  </a:cubicBezTo>
                  <a:cubicBezTo>
                    <a:pt x="19748" y="17906"/>
                    <a:pt x="22616" y="17773"/>
                    <a:pt x="25452" y="17606"/>
                  </a:cubicBezTo>
                  <a:cubicBezTo>
                    <a:pt x="28454" y="17406"/>
                    <a:pt x="31456" y="17172"/>
                    <a:pt x="34458" y="16972"/>
                  </a:cubicBezTo>
                  <a:cubicBezTo>
                    <a:pt x="38594" y="16672"/>
                    <a:pt x="42731" y="16405"/>
                    <a:pt x="46900" y="16272"/>
                  </a:cubicBezTo>
                  <a:cubicBezTo>
                    <a:pt x="47176" y="16264"/>
                    <a:pt x="47453" y="16261"/>
                    <a:pt x="47729" y="16261"/>
                  </a:cubicBezTo>
                  <a:cubicBezTo>
                    <a:pt x="50021" y="16261"/>
                    <a:pt x="52313" y="16490"/>
                    <a:pt x="54606" y="16638"/>
                  </a:cubicBezTo>
                  <a:cubicBezTo>
                    <a:pt x="57408" y="16839"/>
                    <a:pt x="60176" y="17206"/>
                    <a:pt x="62845" y="18073"/>
                  </a:cubicBezTo>
                  <a:cubicBezTo>
                    <a:pt x="63054" y="18119"/>
                    <a:pt x="63279" y="18182"/>
                    <a:pt x="63498" y="18182"/>
                  </a:cubicBezTo>
                  <a:cubicBezTo>
                    <a:pt x="63594" y="18182"/>
                    <a:pt x="63688" y="18170"/>
                    <a:pt x="63779" y="18140"/>
                  </a:cubicBezTo>
                  <a:cubicBezTo>
                    <a:pt x="64213" y="17973"/>
                    <a:pt x="64346" y="17572"/>
                    <a:pt x="64513" y="17206"/>
                  </a:cubicBezTo>
                  <a:cubicBezTo>
                    <a:pt x="66081" y="14203"/>
                    <a:pt x="68516" y="12469"/>
                    <a:pt x="71918" y="12102"/>
                  </a:cubicBezTo>
                  <a:cubicBezTo>
                    <a:pt x="72385" y="12069"/>
                    <a:pt x="72919" y="12102"/>
                    <a:pt x="73252" y="11568"/>
                  </a:cubicBezTo>
                  <a:cubicBezTo>
                    <a:pt x="73252" y="11135"/>
                    <a:pt x="73019" y="10734"/>
                    <a:pt x="72819" y="10367"/>
                  </a:cubicBezTo>
                  <a:cubicBezTo>
                    <a:pt x="70884" y="6831"/>
                    <a:pt x="67982" y="4330"/>
                    <a:pt x="64379" y="2595"/>
                  </a:cubicBezTo>
                  <a:cubicBezTo>
                    <a:pt x="60510" y="760"/>
                    <a:pt x="56340" y="327"/>
                    <a:pt x="52137" y="60"/>
                  </a:cubicBezTo>
                  <a:cubicBezTo>
                    <a:pt x="51351" y="20"/>
                    <a:pt x="50566" y="1"/>
                    <a:pt x="49783" y="1"/>
                  </a:cubicBezTo>
                  <a:close/>
                </a:path>
              </a:pathLst>
            </a:custGeom>
            <a:solidFill>
              <a:srgbClr val="CDB29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4" name="Google Shape;394;p33"/>
            <p:cNvSpPr/>
            <p:nvPr/>
          </p:nvSpPr>
          <p:spPr>
            <a:xfrm>
              <a:off x="7130925" y="3020450"/>
              <a:ext cx="502050" cy="271450"/>
            </a:xfrm>
            <a:custGeom>
              <a:avLst/>
              <a:gdLst/>
              <a:ahLst/>
              <a:cxnLst/>
              <a:rect l="l" t="t" r="r" b="b"/>
              <a:pathLst>
                <a:path w="20082" h="10858" extrusionOk="0">
                  <a:moveTo>
                    <a:pt x="20081" y="1"/>
                  </a:moveTo>
                  <a:lnTo>
                    <a:pt x="20081" y="1"/>
                  </a:lnTo>
                  <a:cubicBezTo>
                    <a:pt x="18980" y="401"/>
                    <a:pt x="18013" y="768"/>
                    <a:pt x="17079" y="1135"/>
                  </a:cubicBezTo>
                  <a:cubicBezTo>
                    <a:pt x="14511" y="2369"/>
                    <a:pt x="11942" y="3570"/>
                    <a:pt x="9407" y="4871"/>
                  </a:cubicBezTo>
                  <a:cubicBezTo>
                    <a:pt x="6438" y="6372"/>
                    <a:pt x="3569" y="7973"/>
                    <a:pt x="834" y="9908"/>
                  </a:cubicBezTo>
                  <a:cubicBezTo>
                    <a:pt x="701" y="10308"/>
                    <a:pt x="0" y="10241"/>
                    <a:pt x="100" y="10842"/>
                  </a:cubicBezTo>
                  <a:cubicBezTo>
                    <a:pt x="148" y="10852"/>
                    <a:pt x="194" y="10857"/>
                    <a:pt x="239" y="10857"/>
                  </a:cubicBezTo>
                  <a:cubicBezTo>
                    <a:pt x="476" y="10857"/>
                    <a:pt x="677" y="10726"/>
                    <a:pt x="901" y="10642"/>
                  </a:cubicBezTo>
                  <a:cubicBezTo>
                    <a:pt x="3336" y="9808"/>
                    <a:pt x="5804" y="9107"/>
                    <a:pt x="8306" y="8507"/>
                  </a:cubicBezTo>
                  <a:cubicBezTo>
                    <a:pt x="11242" y="7806"/>
                    <a:pt x="14177" y="7206"/>
                    <a:pt x="17112" y="6706"/>
                  </a:cubicBezTo>
                  <a:cubicBezTo>
                    <a:pt x="17546" y="6605"/>
                    <a:pt x="18180" y="6772"/>
                    <a:pt x="18380" y="6105"/>
                  </a:cubicBezTo>
                  <a:cubicBezTo>
                    <a:pt x="18914" y="4104"/>
                    <a:pt x="19481" y="2136"/>
                    <a:pt x="20081" y="1"/>
                  </a:cubicBezTo>
                  <a:close/>
                </a:path>
              </a:pathLst>
            </a:custGeom>
            <a:solidFill>
              <a:srgbClr val="BEA38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5" name="Google Shape;395;p33"/>
            <p:cNvSpPr/>
            <p:nvPr/>
          </p:nvSpPr>
          <p:spPr>
            <a:xfrm>
              <a:off x="7100900" y="3268125"/>
              <a:ext cx="52550" cy="37550"/>
            </a:xfrm>
            <a:custGeom>
              <a:avLst/>
              <a:gdLst/>
              <a:ahLst/>
              <a:cxnLst/>
              <a:rect l="l" t="t" r="r" b="b"/>
              <a:pathLst>
                <a:path w="2102" h="1502" extrusionOk="0">
                  <a:moveTo>
                    <a:pt x="2035" y="1"/>
                  </a:moveTo>
                  <a:lnTo>
                    <a:pt x="2035" y="1"/>
                  </a:lnTo>
                  <a:cubicBezTo>
                    <a:pt x="1335" y="434"/>
                    <a:pt x="534" y="801"/>
                    <a:pt x="0" y="1502"/>
                  </a:cubicBezTo>
                  <a:cubicBezTo>
                    <a:pt x="467" y="1402"/>
                    <a:pt x="868" y="1168"/>
                    <a:pt x="1301" y="935"/>
                  </a:cubicBezTo>
                  <a:cubicBezTo>
                    <a:pt x="1335" y="434"/>
                    <a:pt x="2102" y="535"/>
                    <a:pt x="2035" y="1"/>
                  </a:cubicBezTo>
                  <a:close/>
                </a:path>
              </a:pathLst>
            </a:custGeom>
            <a:solidFill>
              <a:srgbClr val="92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6" name="Google Shape;396;p33"/>
            <p:cNvSpPr/>
            <p:nvPr/>
          </p:nvSpPr>
          <p:spPr>
            <a:xfrm>
              <a:off x="6521325" y="4225350"/>
              <a:ext cx="1676225" cy="76500"/>
            </a:xfrm>
            <a:custGeom>
              <a:avLst/>
              <a:gdLst/>
              <a:ahLst/>
              <a:cxnLst/>
              <a:rect l="l" t="t" r="r" b="b"/>
              <a:pathLst>
                <a:path w="67049" h="3060" extrusionOk="0">
                  <a:moveTo>
                    <a:pt x="16332" y="1"/>
                  </a:moveTo>
                  <a:cubicBezTo>
                    <a:pt x="11897" y="1"/>
                    <a:pt x="7464" y="37"/>
                    <a:pt x="3036" y="173"/>
                  </a:cubicBezTo>
                  <a:cubicBezTo>
                    <a:pt x="2402" y="373"/>
                    <a:pt x="1768" y="339"/>
                    <a:pt x="1134" y="373"/>
                  </a:cubicBezTo>
                  <a:cubicBezTo>
                    <a:pt x="934" y="606"/>
                    <a:pt x="1034" y="840"/>
                    <a:pt x="1101" y="1073"/>
                  </a:cubicBezTo>
                  <a:cubicBezTo>
                    <a:pt x="1199" y="1489"/>
                    <a:pt x="1207" y="1815"/>
                    <a:pt x="902" y="1815"/>
                  </a:cubicBezTo>
                  <a:cubicBezTo>
                    <a:pt x="791" y="1815"/>
                    <a:pt x="639" y="1772"/>
                    <a:pt x="434" y="1674"/>
                  </a:cubicBezTo>
                  <a:cubicBezTo>
                    <a:pt x="369" y="1637"/>
                    <a:pt x="314" y="1620"/>
                    <a:pt x="268" y="1620"/>
                  </a:cubicBezTo>
                  <a:cubicBezTo>
                    <a:pt x="150" y="1620"/>
                    <a:pt x="91" y="1730"/>
                    <a:pt x="67" y="1874"/>
                  </a:cubicBezTo>
                  <a:cubicBezTo>
                    <a:pt x="0" y="2641"/>
                    <a:pt x="534" y="2841"/>
                    <a:pt x="1101" y="2941"/>
                  </a:cubicBezTo>
                  <a:cubicBezTo>
                    <a:pt x="1494" y="3016"/>
                    <a:pt x="1888" y="3060"/>
                    <a:pt x="2287" y="3060"/>
                  </a:cubicBezTo>
                  <a:cubicBezTo>
                    <a:pt x="2599" y="3060"/>
                    <a:pt x="2914" y="3033"/>
                    <a:pt x="3236" y="2975"/>
                  </a:cubicBezTo>
                  <a:cubicBezTo>
                    <a:pt x="3412" y="2816"/>
                    <a:pt x="3617" y="2778"/>
                    <a:pt x="3825" y="2778"/>
                  </a:cubicBezTo>
                  <a:cubicBezTo>
                    <a:pt x="4010" y="2778"/>
                    <a:pt x="4197" y="2808"/>
                    <a:pt x="4370" y="2808"/>
                  </a:cubicBezTo>
                  <a:lnTo>
                    <a:pt x="65380" y="2808"/>
                  </a:lnTo>
                  <a:cubicBezTo>
                    <a:pt x="66414" y="2808"/>
                    <a:pt x="66948" y="2408"/>
                    <a:pt x="67015" y="1674"/>
                  </a:cubicBezTo>
                  <a:cubicBezTo>
                    <a:pt x="67048" y="940"/>
                    <a:pt x="66548" y="473"/>
                    <a:pt x="65547" y="339"/>
                  </a:cubicBezTo>
                  <a:cubicBezTo>
                    <a:pt x="65013" y="339"/>
                    <a:pt x="64480" y="373"/>
                    <a:pt x="63979" y="373"/>
                  </a:cubicBezTo>
                  <a:cubicBezTo>
                    <a:pt x="62650" y="355"/>
                    <a:pt x="61323" y="349"/>
                    <a:pt x="59996" y="349"/>
                  </a:cubicBezTo>
                  <a:cubicBezTo>
                    <a:pt x="57275" y="349"/>
                    <a:pt x="54558" y="374"/>
                    <a:pt x="51840" y="374"/>
                  </a:cubicBezTo>
                  <a:cubicBezTo>
                    <a:pt x="48562" y="374"/>
                    <a:pt x="45283" y="337"/>
                    <a:pt x="41997" y="173"/>
                  </a:cubicBezTo>
                  <a:cubicBezTo>
                    <a:pt x="41776" y="246"/>
                    <a:pt x="41534" y="269"/>
                    <a:pt x="41294" y="269"/>
                  </a:cubicBezTo>
                  <a:cubicBezTo>
                    <a:pt x="41101" y="269"/>
                    <a:pt x="40908" y="254"/>
                    <a:pt x="40729" y="239"/>
                  </a:cubicBezTo>
                  <a:cubicBezTo>
                    <a:pt x="39095" y="106"/>
                    <a:pt x="37427" y="39"/>
                    <a:pt x="35792" y="39"/>
                  </a:cubicBezTo>
                  <a:cubicBezTo>
                    <a:pt x="34481" y="47"/>
                    <a:pt x="33169" y="50"/>
                    <a:pt x="31856" y="50"/>
                  </a:cubicBezTo>
                  <a:cubicBezTo>
                    <a:pt x="26685" y="50"/>
                    <a:pt x="21508" y="1"/>
                    <a:pt x="16332"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7" name="Google Shape;397;p33"/>
            <p:cNvSpPr/>
            <p:nvPr/>
          </p:nvSpPr>
          <p:spPr>
            <a:xfrm>
              <a:off x="4464025" y="4225475"/>
              <a:ext cx="1682875" cy="79250"/>
            </a:xfrm>
            <a:custGeom>
              <a:avLst/>
              <a:gdLst/>
              <a:ahLst/>
              <a:cxnLst/>
              <a:rect l="l" t="t" r="r" b="b"/>
              <a:pathLst>
                <a:path w="67315" h="3170" extrusionOk="0">
                  <a:moveTo>
                    <a:pt x="62178" y="1"/>
                  </a:moveTo>
                  <a:cubicBezTo>
                    <a:pt x="50403" y="34"/>
                    <a:pt x="38628" y="34"/>
                    <a:pt x="26853" y="34"/>
                  </a:cubicBezTo>
                  <a:cubicBezTo>
                    <a:pt x="25518" y="34"/>
                    <a:pt x="24184" y="101"/>
                    <a:pt x="22850" y="101"/>
                  </a:cubicBezTo>
                  <a:cubicBezTo>
                    <a:pt x="21837" y="125"/>
                    <a:pt x="20807" y="248"/>
                    <a:pt x="19785" y="248"/>
                  </a:cubicBezTo>
                  <a:cubicBezTo>
                    <a:pt x="19359" y="248"/>
                    <a:pt x="18935" y="227"/>
                    <a:pt x="18513" y="168"/>
                  </a:cubicBezTo>
                  <a:cubicBezTo>
                    <a:pt x="18157" y="168"/>
                    <a:pt x="17802" y="153"/>
                    <a:pt x="17446" y="153"/>
                  </a:cubicBezTo>
                  <a:cubicBezTo>
                    <a:pt x="17268" y="153"/>
                    <a:pt x="17090" y="157"/>
                    <a:pt x="16912" y="168"/>
                  </a:cubicBezTo>
                  <a:cubicBezTo>
                    <a:pt x="14574" y="335"/>
                    <a:pt x="12235" y="377"/>
                    <a:pt x="9897" y="377"/>
                  </a:cubicBezTo>
                  <a:cubicBezTo>
                    <a:pt x="7461" y="377"/>
                    <a:pt x="5025" y="331"/>
                    <a:pt x="2589" y="331"/>
                  </a:cubicBezTo>
                  <a:cubicBezTo>
                    <a:pt x="2226" y="331"/>
                    <a:pt x="1864" y="332"/>
                    <a:pt x="1501" y="334"/>
                  </a:cubicBezTo>
                  <a:cubicBezTo>
                    <a:pt x="901" y="368"/>
                    <a:pt x="400" y="535"/>
                    <a:pt x="167" y="1168"/>
                  </a:cubicBezTo>
                  <a:cubicBezTo>
                    <a:pt x="0" y="1635"/>
                    <a:pt x="100" y="2036"/>
                    <a:pt x="400" y="2403"/>
                  </a:cubicBezTo>
                  <a:cubicBezTo>
                    <a:pt x="718" y="2778"/>
                    <a:pt x="1137" y="2804"/>
                    <a:pt x="1568" y="2804"/>
                  </a:cubicBezTo>
                  <a:cubicBezTo>
                    <a:pt x="1635" y="2804"/>
                    <a:pt x="1701" y="2803"/>
                    <a:pt x="1768" y="2803"/>
                  </a:cubicBezTo>
                  <a:lnTo>
                    <a:pt x="61944" y="2803"/>
                  </a:lnTo>
                  <a:cubicBezTo>
                    <a:pt x="62111" y="2803"/>
                    <a:pt x="62283" y="2778"/>
                    <a:pt x="62444" y="2778"/>
                  </a:cubicBezTo>
                  <a:cubicBezTo>
                    <a:pt x="62703" y="2778"/>
                    <a:pt x="62935" y="2841"/>
                    <a:pt x="63078" y="3170"/>
                  </a:cubicBezTo>
                  <a:cubicBezTo>
                    <a:pt x="63586" y="3038"/>
                    <a:pt x="64105" y="3023"/>
                    <a:pt x="64622" y="3023"/>
                  </a:cubicBezTo>
                  <a:cubicBezTo>
                    <a:pt x="64774" y="3023"/>
                    <a:pt x="64927" y="3024"/>
                    <a:pt x="65079" y="3024"/>
                  </a:cubicBezTo>
                  <a:cubicBezTo>
                    <a:pt x="65325" y="3024"/>
                    <a:pt x="65571" y="3021"/>
                    <a:pt x="65814" y="3003"/>
                  </a:cubicBezTo>
                  <a:cubicBezTo>
                    <a:pt x="66481" y="2936"/>
                    <a:pt x="66915" y="2603"/>
                    <a:pt x="67148" y="1969"/>
                  </a:cubicBezTo>
                  <a:cubicBezTo>
                    <a:pt x="67315" y="1469"/>
                    <a:pt x="67181" y="1002"/>
                    <a:pt x="66681" y="701"/>
                  </a:cubicBezTo>
                  <a:cubicBezTo>
                    <a:pt x="66617" y="683"/>
                    <a:pt x="66561" y="675"/>
                    <a:pt x="66512" y="675"/>
                  </a:cubicBezTo>
                  <a:cubicBezTo>
                    <a:pt x="66202" y="675"/>
                    <a:pt x="66158" y="1005"/>
                    <a:pt x="66014" y="1235"/>
                  </a:cubicBezTo>
                  <a:cubicBezTo>
                    <a:pt x="65900" y="1434"/>
                    <a:pt x="65835" y="1731"/>
                    <a:pt x="65590" y="1731"/>
                  </a:cubicBezTo>
                  <a:cubicBezTo>
                    <a:pt x="65548" y="1731"/>
                    <a:pt x="65501" y="1722"/>
                    <a:pt x="65447" y="1702"/>
                  </a:cubicBezTo>
                  <a:cubicBezTo>
                    <a:pt x="65113" y="1569"/>
                    <a:pt x="65280" y="1235"/>
                    <a:pt x="65313" y="968"/>
                  </a:cubicBezTo>
                  <a:cubicBezTo>
                    <a:pt x="65347" y="768"/>
                    <a:pt x="65447" y="568"/>
                    <a:pt x="65280" y="368"/>
                  </a:cubicBezTo>
                  <a:cubicBezTo>
                    <a:pt x="65047" y="301"/>
                    <a:pt x="64813" y="234"/>
                    <a:pt x="64580" y="168"/>
                  </a:cubicBezTo>
                  <a:cubicBezTo>
                    <a:pt x="64453" y="183"/>
                    <a:pt x="64328" y="190"/>
                    <a:pt x="64202" y="190"/>
                  </a:cubicBezTo>
                  <a:cubicBezTo>
                    <a:pt x="63535" y="190"/>
                    <a:pt x="62880" y="1"/>
                    <a:pt x="62178"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8" name="Google Shape;398;p33"/>
            <p:cNvSpPr/>
            <p:nvPr/>
          </p:nvSpPr>
          <p:spPr>
            <a:xfrm>
              <a:off x="6086850" y="4076200"/>
              <a:ext cx="473675" cy="203425"/>
            </a:xfrm>
            <a:custGeom>
              <a:avLst/>
              <a:gdLst/>
              <a:ahLst/>
              <a:cxnLst/>
              <a:rect l="l" t="t" r="r" b="b"/>
              <a:pathLst>
                <a:path w="18947" h="8137" extrusionOk="0">
                  <a:moveTo>
                    <a:pt x="9707" y="1"/>
                  </a:moveTo>
                  <a:cubicBezTo>
                    <a:pt x="8173" y="101"/>
                    <a:pt x="6638" y="335"/>
                    <a:pt x="5204" y="1002"/>
                  </a:cubicBezTo>
                  <a:cubicBezTo>
                    <a:pt x="2902" y="2136"/>
                    <a:pt x="1434" y="4037"/>
                    <a:pt x="367" y="6339"/>
                  </a:cubicBezTo>
                  <a:cubicBezTo>
                    <a:pt x="267" y="6639"/>
                    <a:pt x="167" y="6906"/>
                    <a:pt x="100" y="7206"/>
                  </a:cubicBezTo>
                  <a:cubicBezTo>
                    <a:pt x="0" y="7573"/>
                    <a:pt x="67" y="7907"/>
                    <a:pt x="434" y="8073"/>
                  </a:cubicBezTo>
                  <a:cubicBezTo>
                    <a:pt x="508" y="8104"/>
                    <a:pt x="575" y="8118"/>
                    <a:pt x="636" y="8118"/>
                  </a:cubicBezTo>
                  <a:cubicBezTo>
                    <a:pt x="906" y="8118"/>
                    <a:pt x="1059" y="7851"/>
                    <a:pt x="1168" y="7606"/>
                  </a:cubicBezTo>
                  <a:cubicBezTo>
                    <a:pt x="1301" y="7306"/>
                    <a:pt x="1434" y="6973"/>
                    <a:pt x="1568" y="6672"/>
                  </a:cubicBezTo>
                  <a:cubicBezTo>
                    <a:pt x="2949" y="3126"/>
                    <a:pt x="6043" y="1184"/>
                    <a:pt x="9442" y="1184"/>
                  </a:cubicBezTo>
                  <a:cubicBezTo>
                    <a:pt x="10231" y="1184"/>
                    <a:pt x="11037" y="1288"/>
                    <a:pt x="11842" y="1502"/>
                  </a:cubicBezTo>
                  <a:cubicBezTo>
                    <a:pt x="14911" y="2303"/>
                    <a:pt x="16612" y="4671"/>
                    <a:pt x="17613" y="7573"/>
                  </a:cubicBezTo>
                  <a:cubicBezTo>
                    <a:pt x="17793" y="7805"/>
                    <a:pt x="17934" y="8137"/>
                    <a:pt x="18219" y="8137"/>
                  </a:cubicBezTo>
                  <a:cubicBezTo>
                    <a:pt x="18303" y="8137"/>
                    <a:pt x="18400" y="8108"/>
                    <a:pt x="18513" y="8040"/>
                  </a:cubicBezTo>
                  <a:cubicBezTo>
                    <a:pt x="18947" y="7773"/>
                    <a:pt x="18847" y="7340"/>
                    <a:pt x="18680" y="6973"/>
                  </a:cubicBezTo>
                  <a:cubicBezTo>
                    <a:pt x="18613" y="6772"/>
                    <a:pt x="18580" y="6572"/>
                    <a:pt x="18513" y="6372"/>
                  </a:cubicBezTo>
                  <a:cubicBezTo>
                    <a:pt x="17246" y="3870"/>
                    <a:pt x="15578" y="1736"/>
                    <a:pt x="12943" y="568"/>
                  </a:cubicBezTo>
                  <a:cubicBezTo>
                    <a:pt x="12809" y="535"/>
                    <a:pt x="12676" y="501"/>
                    <a:pt x="12542" y="501"/>
                  </a:cubicBezTo>
                  <a:cubicBezTo>
                    <a:pt x="12242" y="401"/>
                    <a:pt x="11942" y="301"/>
                    <a:pt x="11642" y="201"/>
                  </a:cubicBezTo>
                  <a:cubicBezTo>
                    <a:pt x="11275" y="201"/>
                    <a:pt x="10875" y="168"/>
                    <a:pt x="10508" y="134"/>
                  </a:cubicBezTo>
                  <a:cubicBezTo>
                    <a:pt x="10369" y="134"/>
                    <a:pt x="10238" y="156"/>
                    <a:pt x="10113" y="156"/>
                  </a:cubicBezTo>
                  <a:cubicBezTo>
                    <a:pt x="9968" y="156"/>
                    <a:pt x="9833" y="127"/>
                    <a:pt x="9707"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9" name="Google Shape;399;p33"/>
            <p:cNvSpPr/>
            <p:nvPr/>
          </p:nvSpPr>
          <p:spPr>
            <a:xfrm>
              <a:off x="6979150" y="3826875"/>
              <a:ext cx="98425" cy="5025"/>
            </a:xfrm>
            <a:custGeom>
              <a:avLst/>
              <a:gdLst/>
              <a:ahLst/>
              <a:cxnLst/>
              <a:rect l="l" t="t" r="r" b="b"/>
              <a:pathLst>
                <a:path w="3937" h="201" extrusionOk="0">
                  <a:moveTo>
                    <a:pt x="1981" y="0"/>
                  </a:moveTo>
                  <a:cubicBezTo>
                    <a:pt x="1326" y="0"/>
                    <a:pt x="667" y="67"/>
                    <a:pt x="0" y="200"/>
                  </a:cubicBezTo>
                  <a:lnTo>
                    <a:pt x="3936" y="200"/>
                  </a:lnTo>
                  <a:cubicBezTo>
                    <a:pt x="3286" y="67"/>
                    <a:pt x="2635" y="0"/>
                    <a:pt x="1981" y="0"/>
                  </a:cubicBezTo>
                  <a:close/>
                </a:path>
              </a:pathLst>
            </a:custGeom>
            <a:solidFill>
              <a:srgbClr val="CAC8B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0" name="Google Shape;400;p33"/>
            <p:cNvSpPr/>
            <p:nvPr/>
          </p:nvSpPr>
          <p:spPr>
            <a:xfrm>
              <a:off x="5780800" y="3867675"/>
              <a:ext cx="252700" cy="322800"/>
            </a:xfrm>
            <a:custGeom>
              <a:avLst/>
              <a:gdLst/>
              <a:ahLst/>
              <a:cxnLst/>
              <a:rect l="l" t="t" r="r" b="b"/>
              <a:pathLst>
                <a:path w="10108" h="12912" extrusionOk="0">
                  <a:moveTo>
                    <a:pt x="796" y="1"/>
                  </a:moveTo>
                  <a:cubicBezTo>
                    <a:pt x="675" y="1"/>
                    <a:pt x="555" y="1"/>
                    <a:pt x="434" y="3"/>
                  </a:cubicBezTo>
                  <a:cubicBezTo>
                    <a:pt x="334" y="3"/>
                    <a:pt x="234" y="36"/>
                    <a:pt x="167" y="136"/>
                  </a:cubicBezTo>
                  <a:cubicBezTo>
                    <a:pt x="167" y="1270"/>
                    <a:pt x="167" y="2438"/>
                    <a:pt x="167" y="3605"/>
                  </a:cubicBezTo>
                  <a:cubicBezTo>
                    <a:pt x="0" y="3805"/>
                    <a:pt x="0" y="3972"/>
                    <a:pt x="167" y="4172"/>
                  </a:cubicBezTo>
                  <a:cubicBezTo>
                    <a:pt x="200" y="4306"/>
                    <a:pt x="200" y="4439"/>
                    <a:pt x="200" y="4606"/>
                  </a:cubicBezTo>
                  <a:cubicBezTo>
                    <a:pt x="400" y="5507"/>
                    <a:pt x="133" y="6474"/>
                    <a:pt x="300" y="7375"/>
                  </a:cubicBezTo>
                  <a:cubicBezTo>
                    <a:pt x="300" y="8309"/>
                    <a:pt x="334" y="9243"/>
                    <a:pt x="334" y="10177"/>
                  </a:cubicBezTo>
                  <a:cubicBezTo>
                    <a:pt x="200" y="10377"/>
                    <a:pt x="200" y="10544"/>
                    <a:pt x="334" y="10744"/>
                  </a:cubicBezTo>
                  <a:cubicBezTo>
                    <a:pt x="434" y="11144"/>
                    <a:pt x="234" y="11578"/>
                    <a:pt x="467" y="11978"/>
                  </a:cubicBezTo>
                  <a:cubicBezTo>
                    <a:pt x="1234" y="11678"/>
                    <a:pt x="1801" y="11077"/>
                    <a:pt x="2535" y="10910"/>
                  </a:cubicBezTo>
                  <a:cubicBezTo>
                    <a:pt x="2802" y="10810"/>
                    <a:pt x="3036" y="10777"/>
                    <a:pt x="3269" y="10610"/>
                  </a:cubicBezTo>
                  <a:cubicBezTo>
                    <a:pt x="4361" y="9975"/>
                    <a:pt x="4728" y="9626"/>
                    <a:pt x="5064" y="9626"/>
                  </a:cubicBezTo>
                  <a:cubicBezTo>
                    <a:pt x="5414" y="9626"/>
                    <a:pt x="5730" y="10008"/>
                    <a:pt x="6805" y="10844"/>
                  </a:cubicBezTo>
                  <a:cubicBezTo>
                    <a:pt x="6905" y="10910"/>
                    <a:pt x="6972" y="11011"/>
                    <a:pt x="7072" y="11077"/>
                  </a:cubicBezTo>
                  <a:cubicBezTo>
                    <a:pt x="7405" y="11311"/>
                    <a:pt x="7772" y="11544"/>
                    <a:pt x="8173" y="11644"/>
                  </a:cubicBezTo>
                  <a:cubicBezTo>
                    <a:pt x="8673" y="12045"/>
                    <a:pt x="9207" y="12412"/>
                    <a:pt x="9874" y="12912"/>
                  </a:cubicBezTo>
                  <a:cubicBezTo>
                    <a:pt x="9940" y="9042"/>
                    <a:pt x="10007" y="5407"/>
                    <a:pt x="10074" y="1771"/>
                  </a:cubicBezTo>
                  <a:cubicBezTo>
                    <a:pt x="10107" y="1671"/>
                    <a:pt x="10107" y="1570"/>
                    <a:pt x="10007" y="1470"/>
                  </a:cubicBezTo>
                  <a:cubicBezTo>
                    <a:pt x="9707" y="1237"/>
                    <a:pt x="9340" y="1170"/>
                    <a:pt x="8973" y="1103"/>
                  </a:cubicBezTo>
                  <a:cubicBezTo>
                    <a:pt x="6320" y="368"/>
                    <a:pt x="3575" y="1"/>
                    <a:pt x="796"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1" name="Google Shape;401;p33"/>
            <p:cNvSpPr/>
            <p:nvPr/>
          </p:nvSpPr>
          <p:spPr>
            <a:xfrm>
              <a:off x="6040975" y="4100925"/>
              <a:ext cx="561250" cy="235500"/>
            </a:xfrm>
            <a:custGeom>
              <a:avLst/>
              <a:gdLst/>
              <a:ahLst/>
              <a:cxnLst/>
              <a:rect l="l" t="t" r="r" b="b"/>
              <a:pathLst>
                <a:path w="22450" h="9420" extrusionOk="0">
                  <a:moveTo>
                    <a:pt x="11467" y="0"/>
                  </a:moveTo>
                  <a:cubicBezTo>
                    <a:pt x="11294" y="0"/>
                    <a:pt x="11119" y="5"/>
                    <a:pt x="10942" y="13"/>
                  </a:cubicBezTo>
                  <a:cubicBezTo>
                    <a:pt x="7639" y="179"/>
                    <a:pt x="5271" y="1747"/>
                    <a:pt x="3636" y="4549"/>
                  </a:cubicBezTo>
                  <a:cubicBezTo>
                    <a:pt x="3470" y="4883"/>
                    <a:pt x="3236" y="5250"/>
                    <a:pt x="3403" y="5683"/>
                  </a:cubicBezTo>
                  <a:cubicBezTo>
                    <a:pt x="3837" y="6017"/>
                    <a:pt x="4103" y="6417"/>
                    <a:pt x="3837" y="6951"/>
                  </a:cubicBezTo>
                  <a:cubicBezTo>
                    <a:pt x="3615" y="7458"/>
                    <a:pt x="3213" y="7754"/>
                    <a:pt x="2630" y="7754"/>
                  </a:cubicBezTo>
                  <a:cubicBezTo>
                    <a:pt x="2599" y="7754"/>
                    <a:pt x="2568" y="7753"/>
                    <a:pt x="2536" y="7752"/>
                  </a:cubicBezTo>
                  <a:cubicBezTo>
                    <a:pt x="2324" y="7740"/>
                    <a:pt x="2117" y="7737"/>
                    <a:pt x="1910" y="7737"/>
                  </a:cubicBezTo>
                  <a:cubicBezTo>
                    <a:pt x="1498" y="7737"/>
                    <a:pt x="1090" y="7752"/>
                    <a:pt x="668" y="7752"/>
                  </a:cubicBezTo>
                  <a:cubicBezTo>
                    <a:pt x="367" y="7752"/>
                    <a:pt x="67" y="7752"/>
                    <a:pt x="0" y="8152"/>
                  </a:cubicBezTo>
                  <a:cubicBezTo>
                    <a:pt x="201" y="9086"/>
                    <a:pt x="868" y="9419"/>
                    <a:pt x="1702" y="9419"/>
                  </a:cubicBezTo>
                  <a:lnTo>
                    <a:pt x="20715" y="9419"/>
                  </a:lnTo>
                  <a:cubicBezTo>
                    <a:pt x="21649" y="9419"/>
                    <a:pt x="22283" y="8952"/>
                    <a:pt x="22450" y="7952"/>
                  </a:cubicBezTo>
                  <a:cubicBezTo>
                    <a:pt x="22207" y="7769"/>
                    <a:pt x="21942" y="7725"/>
                    <a:pt x="21673" y="7725"/>
                  </a:cubicBezTo>
                  <a:cubicBezTo>
                    <a:pt x="21424" y="7725"/>
                    <a:pt x="21171" y="7763"/>
                    <a:pt x="20926" y="7763"/>
                  </a:cubicBezTo>
                  <a:cubicBezTo>
                    <a:pt x="20855" y="7763"/>
                    <a:pt x="20785" y="7760"/>
                    <a:pt x="20715" y="7752"/>
                  </a:cubicBezTo>
                  <a:cubicBezTo>
                    <a:pt x="20048" y="7651"/>
                    <a:pt x="19281" y="7618"/>
                    <a:pt x="19448" y="6584"/>
                  </a:cubicBezTo>
                  <a:cubicBezTo>
                    <a:pt x="19648" y="6317"/>
                    <a:pt x="19548" y="6050"/>
                    <a:pt x="19448" y="5783"/>
                  </a:cubicBezTo>
                  <a:cubicBezTo>
                    <a:pt x="18747" y="4282"/>
                    <a:pt x="17947" y="2881"/>
                    <a:pt x="16646" y="1814"/>
                  </a:cubicBezTo>
                  <a:cubicBezTo>
                    <a:pt x="15114" y="527"/>
                    <a:pt x="13414" y="0"/>
                    <a:pt x="11467" y="0"/>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2" name="Google Shape;402;p33"/>
            <p:cNvSpPr/>
            <p:nvPr/>
          </p:nvSpPr>
          <p:spPr>
            <a:xfrm>
              <a:off x="6597200" y="4183575"/>
              <a:ext cx="974050" cy="50725"/>
            </a:xfrm>
            <a:custGeom>
              <a:avLst/>
              <a:gdLst/>
              <a:ahLst/>
              <a:cxnLst/>
              <a:rect l="l" t="t" r="r" b="b"/>
              <a:pathLst>
                <a:path w="38962" h="2029" extrusionOk="0">
                  <a:moveTo>
                    <a:pt x="15286" y="1"/>
                  </a:moveTo>
                  <a:cubicBezTo>
                    <a:pt x="13709" y="1"/>
                    <a:pt x="12128" y="53"/>
                    <a:pt x="10542" y="176"/>
                  </a:cubicBezTo>
                  <a:cubicBezTo>
                    <a:pt x="7006" y="443"/>
                    <a:pt x="3436" y="876"/>
                    <a:pt x="1" y="1844"/>
                  </a:cubicBezTo>
                  <a:cubicBezTo>
                    <a:pt x="153" y="1996"/>
                    <a:pt x="327" y="2029"/>
                    <a:pt x="499" y="2029"/>
                  </a:cubicBezTo>
                  <a:cubicBezTo>
                    <a:pt x="627" y="2029"/>
                    <a:pt x="754" y="2010"/>
                    <a:pt x="868" y="2010"/>
                  </a:cubicBezTo>
                  <a:lnTo>
                    <a:pt x="37894" y="2010"/>
                  </a:lnTo>
                  <a:cubicBezTo>
                    <a:pt x="38052" y="2010"/>
                    <a:pt x="38215" y="2029"/>
                    <a:pt x="38374" y="2029"/>
                  </a:cubicBezTo>
                  <a:cubicBezTo>
                    <a:pt x="38586" y="2029"/>
                    <a:pt x="38790" y="1996"/>
                    <a:pt x="38962" y="1844"/>
                  </a:cubicBezTo>
                  <a:cubicBezTo>
                    <a:pt x="35926" y="1577"/>
                    <a:pt x="32857" y="1310"/>
                    <a:pt x="29789" y="976"/>
                  </a:cubicBezTo>
                  <a:cubicBezTo>
                    <a:pt x="24955" y="498"/>
                    <a:pt x="20139" y="1"/>
                    <a:pt x="15286" y="1"/>
                  </a:cubicBezTo>
                  <a:close/>
                </a:path>
              </a:pathLst>
            </a:custGeom>
            <a:solidFill>
              <a:srgbClr val="66575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3" name="Google Shape;403;p33"/>
            <p:cNvSpPr/>
            <p:nvPr/>
          </p:nvSpPr>
          <p:spPr>
            <a:xfrm>
              <a:off x="4926850" y="4182950"/>
              <a:ext cx="1151675" cy="51350"/>
            </a:xfrm>
            <a:custGeom>
              <a:avLst/>
              <a:gdLst/>
              <a:ahLst/>
              <a:cxnLst/>
              <a:rect l="l" t="t" r="r" b="b"/>
              <a:pathLst>
                <a:path w="46067" h="2054" extrusionOk="0">
                  <a:moveTo>
                    <a:pt x="31628" y="0"/>
                  </a:moveTo>
                  <a:cubicBezTo>
                    <a:pt x="30815" y="0"/>
                    <a:pt x="30001" y="12"/>
                    <a:pt x="29188" y="34"/>
                  </a:cubicBezTo>
                  <a:cubicBezTo>
                    <a:pt x="19448" y="268"/>
                    <a:pt x="9741" y="1335"/>
                    <a:pt x="0" y="1869"/>
                  </a:cubicBezTo>
                  <a:cubicBezTo>
                    <a:pt x="153" y="2021"/>
                    <a:pt x="338" y="2054"/>
                    <a:pt x="531" y="2054"/>
                  </a:cubicBezTo>
                  <a:cubicBezTo>
                    <a:pt x="676" y="2054"/>
                    <a:pt x="825" y="2035"/>
                    <a:pt x="968" y="2035"/>
                  </a:cubicBezTo>
                  <a:lnTo>
                    <a:pt x="45199" y="2035"/>
                  </a:lnTo>
                  <a:cubicBezTo>
                    <a:pt x="45328" y="2035"/>
                    <a:pt x="45463" y="2054"/>
                    <a:pt x="45593" y="2054"/>
                  </a:cubicBezTo>
                  <a:cubicBezTo>
                    <a:pt x="45767" y="2054"/>
                    <a:pt x="45933" y="2021"/>
                    <a:pt x="46067" y="1869"/>
                  </a:cubicBezTo>
                  <a:cubicBezTo>
                    <a:pt x="45433" y="1669"/>
                    <a:pt x="44766" y="1435"/>
                    <a:pt x="44098" y="1268"/>
                  </a:cubicBezTo>
                  <a:cubicBezTo>
                    <a:pt x="39992" y="319"/>
                    <a:pt x="35816" y="0"/>
                    <a:pt x="31628" y="0"/>
                  </a:cubicBezTo>
                  <a:close/>
                </a:path>
              </a:pathLst>
            </a:custGeom>
            <a:solidFill>
              <a:srgbClr val="66575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4" name="Google Shape;404;p33"/>
            <p:cNvSpPr/>
            <p:nvPr/>
          </p:nvSpPr>
          <p:spPr>
            <a:xfrm>
              <a:off x="5789125" y="3848550"/>
              <a:ext cx="254375" cy="58400"/>
            </a:xfrm>
            <a:custGeom>
              <a:avLst/>
              <a:gdLst/>
              <a:ahLst/>
              <a:cxnLst/>
              <a:rect l="l" t="t" r="r" b="b"/>
              <a:pathLst>
                <a:path w="10175" h="2336" extrusionOk="0">
                  <a:moveTo>
                    <a:pt x="1902" y="67"/>
                  </a:moveTo>
                  <a:cubicBezTo>
                    <a:pt x="1168" y="101"/>
                    <a:pt x="368" y="0"/>
                    <a:pt x="1" y="868"/>
                  </a:cubicBezTo>
                  <a:cubicBezTo>
                    <a:pt x="81" y="1048"/>
                    <a:pt x="197" y="1084"/>
                    <a:pt x="334" y="1084"/>
                  </a:cubicBezTo>
                  <a:cubicBezTo>
                    <a:pt x="426" y="1084"/>
                    <a:pt x="528" y="1068"/>
                    <a:pt x="634" y="1068"/>
                  </a:cubicBezTo>
                  <a:cubicBezTo>
                    <a:pt x="927" y="1056"/>
                    <a:pt x="1220" y="1048"/>
                    <a:pt x="1513" y="1048"/>
                  </a:cubicBezTo>
                  <a:cubicBezTo>
                    <a:pt x="2021" y="1048"/>
                    <a:pt x="2529" y="1071"/>
                    <a:pt x="3036" y="1135"/>
                  </a:cubicBezTo>
                  <a:cubicBezTo>
                    <a:pt x="5271" y="1368"/>
                    <a:pt x="7506" y="1802"/>
                    <a:pt x="9708" y="2335"/>
                  </a:cubicBezTo>
                  <a:cubicBezTo>
                    <a:pt x="10175" y="2102"/>
                    <a:pt x="10141" y="1802"/>
                    <a:pt x="9908" y="1435"/>
                  </a:cubicBezTo>
                  <a:cubicBezTo>
                    <a:pt x="7306" y="568"/>
                    <a:pt x="4604" y="201"/>
                    <a:pt x="1902" y="67"/>
                  </a:cubicBezTo>
                  <a:close/>
                </a:path>
              </a:pathLst>
            </a:custGeom>
            <a:solidFill>
              <a:srgbClr val="986E2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5" name="Google Shape;405;p33"/>
            <p:cNvSpPr/>
            <p:nvPr/>
          </p:nvSpPr>
          <p:spPr>
            <a:xfrm>
              <a:off x="6568850" y="3883300"/>
              <a:ext cx="1288450" cy="137775"/>
            </a:xfrm>
            <a:custGeom>
              <a:avLst/>
              <a:gdLst/>
              <a:ahLst/>
              <a:cxnLst/>
              <a:rect l="l" t="t" r="r" b="b"/>
              <a:pathLst>
                <a:path w="51538" h="5511" extrusionOk="0">
                  <a:moveTo>
                    <a:pt x="18760" y="0"/>
                  </a:moveTo>
                  <a:cubicBezTo>
                    <a:pt x="13883" y="0"/>
                    <a:pt x="9161" y="929"/>
                    <a:pt x="4570" y="2647"/>
                  </a:cubicBezTo>
                  <a:cubicBezTo>
                    <a:pt x="3003" y="3214"/>
                    <a:pt x="1435" y="3881"/>
                    <a:pt x="1" y="4815"/>
                  </a:cubicBezTo>
                  <a:cubicBezTo>
                    <a:pt x="1535" y="4281"/>
                    <a:pt x="3003" y="3681"/>
                    <a:pt x="4537" y="3180"/>
                  </a:cubicBezTo>
                  <a:cubicBezTo>
                    <a:pt x="8573" y="1813"/>
                    <a:pt x="12676" y="912"/>
                    <a:pt x="16979" y="745"/>
                  </a:cubicBezTo>
                  <a:cubicBezTo>
                    <a:pt x="17444" y="731"/>
                    <a:pt x="17909" y="725"/>
                    <a:pt x="18373" y="725"/>
                  </a:cubicBezTo>
                  <a:cubicBezTo>
                    <a:pt x="22366" y="725"/>
                    <a:pt x="26314" y="1218"/>
                    <a:pt x="30289" y="1846"/>
                  </a:cubicBezTo>
                  <a:cubicBezTo>
                    <a:pt x="36226" y="2780"/>
                    <a:pt x="42164" y="3948"/>
                    <a:pt x="48102" y="5015"/>
                  </a:cubicBezTo>
                  <a:cubicBezTo>
                    <a:pt x="49069" y="5214"/>
                    <a:pt x="50012" y="5510"/>
                    <a:pt x="51014" y="5510"/>
                  </a:cubicBezTo>
                  <a:cubicBezTo>
                    <a:pt x="51186" y="5510"/>
                    <a:pt x="51361" y="5502"/>
                    <a:pt x="51537" y="5482"/>
                  </a:cubicBezTo>
                  <a:cubicBezTo>
                    <a:pt x="48502" y="4782"/>
                    <a:pt x="45466" y="4048"/>
                    <a:pt x="42397" y="3414"/>
                  </a:cubicBezTo>
                  <a:cubicBezTo>
                    <a:pt x="39062" y="2713"/>
                    <a:pt x="35693" y="2080"/>
                    <a:pt x="32324" y="1446"/>
                  </a:cubicBezTo>
                  <a:cubicBezTo>
                    <a:pt x="28454" y="712"/>
                    <a:pt x="24551" y="245"/>
                    <a:pt x="20615" y="45"/>
                  </a:cubicBezTo>
                  <a:cubicBezTo>
                    <a:pt x="19994" y="15"/>
                    <a:pt x="19376" y="0"/>
                    <a:pt x="18760"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6" name="Google Shape;406;p33"/>
            <p:cNvSpPr/>
            <p:nvPr/>
          </p:nvSpPr>
          <p:spPr>
            <a:xfrm>
              <a:off x="6568025" y="3982950"/>
              <a:ext cx="803925" cy="105800"/>
            </a:xfrm>
            <a:custGeom>
              <a:avLst/>
              <a:gdLst/>
              <a:ahLst/>
              <a:cxnLst/>
              <a:rect l="l" t="t" r="r" b="b"/>
              <a:pathLst>
                <a:path w="32157" h="4232" extrusionOk="0">
                  <a:moveTo>
                    <a:pt x="18432" y="0"/>
                  </a:moveTo>
                  <a:cubicBezTo>
                    <a:pt x="12165" y="0"/>
                    <a:pt x="6004" y="1171"/>
                    <a:pt x="0" y="4231"/>
                  </a:cubicBezTo>
                  <a:cubicBezTo>
                    <a:pt x="6421" y="1536"/>
                    <a:pt x="12993" y="477"/>
                    <a:pt x="19656" y="477"/>
                  </a:cubicBezTo>
                  <a:cubicBezTo>
                    <a:pt x="23793" y="477"/>
                    <a:pt x="27965" y="885"/>
                    <a:pt x="32156" y="1563"/>
                  </a:cubicBezTo>
                  <a:cubicBezTo>
                    <a:pt x="27540" y="611"/>
                    <a:pt x="22958" y="0"/>
                    <a:pt x="18432"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7" name="Google Shape;407;p33"/>
            <p:cNvSpPr/>
            <p:nvPr/>
          </p:nvSpPr>
          <p:spPr>
            <a:xfrm>
              <a:off x="6658075" y="4079275"/>
              <a:ext cx="633825" cy="61175"/>
            </a:xfrm>
            <a:custGeom>
              <a:avLst/>
              <a:gdLst/>
              <a:ahLst/>
              <a:cxnLst/>
              <a:rect l="l" t="t" r="r" b="b"/>
              <a:pathLst>
                <a:path w="25353" h="2447" extrusionOk="0">
                  <a:moveTo>
                    <a:pt x="13349" y="1"/>
                  </a:moveTo>
                  <a:cubicBezTo>
                    <a:pt x="8869" y="1"/>
                    <a:pt x="4416" y="663"/>
                    <a:pt x="1" y="2446"/>
                  </a:cubicBezTo>
                  <a:cubicBezTo>
                    <a:pt x="4691" y="970"/>
                    <a:pt x="9412" y="426"/>
                    <a:pt x="14154" y="426"/>
                  </a:cubicBezTo>
                  <a:cubicBezTo>
                    <a:pt x="17876" y="426"/>
                    <a:pt x="21611" y="761"/>
                    <a:pt x="25352" y="1246"/>
                  </a:cubicBezTo>
                  <a:cubicBezTo>
                    <a:pt x="21334" y="524"/>
                    <a:pt x="17331" y="1"/>
                    <a:pt x="13349" y="1"/>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8" name="Google Shape;408;p33"/>
            <p:cNvSpPr/>
            <p:nvPr/>
          </p:nvSpPr>
          <p:spPr>
            <a:xfrm>
              <a:off x="4968550" y="3846625"/>
              <a:ext cx="867300" cy="134550"/>
            </a:xfrm>
            <a:custGeom>
              <a:avLst/>
              <a:gdLst/>
              <a:ahLst/>
              <a:cxnLst/>
              <a:rect l="l" t="t" r="r" b="b"/>
              <a:pathLst>
                <a:path w="34692" h="5382" extrusionOk="0">
                  <a:moveTo>
                    <a:pt x="34175" y="0"/>
                  </a:moveTo>
                  <a:cubicBezTo>
                    <a:pt x="34052" y="0"/>
                    <a:pt x="33924" y="11"/>
                    <a:pt x="33791" y="11"/>
                  </a:cubicBezTo>
                  <a:cubicBezTo>
                    <a:pt x="30689" y="11"/>
                    <a:pt x="27620" y="11"/>
                    <a:pt x="24518" y="344"/>
                  </a:cubicBezTo>
                  <a:cubicBezTo>
                    <a:pt x="21516" y="645"/>
                    <a:pt x="18547" y="1078"/>
                    <a:pt x="15611" y="1612"/>
                  </a:cubicBezTo>
                  <a:cubicBezTo>
                    <a:pt x="12042" y="2246"/>
                    <a:pt x="8540" y="3180"/>
                    <a:pt x="5004" y="3980"/>
                  </a:cubicBezTo>
                  <a:cubicBezTo>
                    <a:pt x="3336" y="4347"/>
                    <a:pt x="1668" y="4814"/>
                    <a:pt x="0" y="5248"/>
                  </a:cubicBezTo>
                  <a:cubicBezTo>
                    <a:pt x="134" y="5337"/>
                    <a:pt x="267" y="5381"/>
                    <a:pt x="391" y="5381"/>
                  </a:cubicBezTo>
                  <a:cubicBezTo>
                    <a:pt x="452" y="5381"/>
                    <a:pt x="512" y="5370"/>
                    <a:pt x="567" y="5348"/>
                  </a:cubicBezTo>
                  <a:cubicBezTo>
                    <a:pt x="6471" y="3947"/>
                    <a:pt x="12376" y="2679"/>
                    <a:pt x="18380" y="1812"/>
                  </a:cubicBezTo>
                  <a:cubicBezTo>
                    <a:pt x="22333" y="1227"/>
                    <a:pt x="26309" y="945"/>
                    <a:pt x="30288" y="945"/>
                  </a:cubicBezTo>
                  <a:cubicBezTo>
                    <a:pt x="31078" y="945"/>
                    <a:pt x="31867" y="956"/>
                    <a:pt x="32657" y="978"/>
                  </a:cubicBezTo>
                  <a:cubicBezTo>
                    <a:pt x="32724" y="945"/>
                    <a:pt x="32790" y="945"/>
                    <a:pt x="32824" y="945"/>
                  </a:cubicBezTo>
                  <a:cubicBezTo>
                    <a:pt x="33391" y="544"/>
                    <a:pt x="34125" y="544"/>
                    <a:pt x="34692" y="144"/>
                  </a:cubicBezTo>
                  <a:cubicBezTo>
                    <a:pt x="34531" y="24"/>
                    <a:pt x="34359" y="0"/>
                    <a:pt x="34175"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9" name="Google Shape;409;p33"/>
            <p:cNvSpPr/>
            <p:nvPr/>
          </p:nvSpPr>
          <p:spPr>
            <a:xfrm>
              <a:off x="5132000" y="4031975"/>
              <a:ext cx="656850" cy="60100"/>
            </a:xfrm>
            <a:custGeom>
              <a:avLst/>
              <a:gdLst/>
              <a:ahLst/>
              <a:cxnLst/>
              <a:rect l="l" t="t" r="r" b="b"/>
              <a:pathLst>
                <a:path w="26274" h="2404" extrusionOk="0">
                  <a:moveTo>
                    <a:pt x="21650" y="0"/>
                  </a:moveTo>
                  <a:cubicBezTo>
                    <a:pt x="19355" y="0"/>
                    <a:pt x="17052" y="131"/>
                    <a:pt x="14777" y="302"/>
                  </a:cubicBezTo>
                  <a:cubicBezTo>
                    <a:pt x="11775" y="502"/>
                    <a:pt x="8806" y="869"/>
                    <a:pt x="5838" y="1336"/>
                  </a:cubicBezTo>
                  <a:cubicBezTo>
                    <a:pt x="3903" y="1670"/>
                    <a:pt x="1935" y="1870"/>
                    <a:pt x="0" y="2404"/>
                  </a:cubicBezTo>
                  <a:cubicBezTo>
                    <a:pt x="6878" y="1534"/>
                    <a:pt x="13756" y="581"/>
                    <a:pt x="20700" y="581"/>
                  </a:cubicBezTo>
                  <a:cubicBezTo>
                    <a:pt x="22546" y="581"/>
                    <a:pt x="24396" y="649"/>
                    <a:pt x="26252" y="803"/>
                  </a:cubicBezTo>
                  <a:cubicBezTo>
                    <a:pt x="26273" y="212"/>
                    <a:pt x="26161" y="115"/>
                    <a:pt x="25941" y="115"/>
                  </a:cubicBezTo>
                  <a:cubicBezTo>
                    <a:pt x="25833" y="115"/>
                    <a:pt x="25699" y="138"/>
                    <a:pt x="25542" y="138"/>
                  </a:cubicBezTo>
                  <a:cubicBezTo>
                    <a:pt x="25513" y="138"/>
                    <a:pt x="25483" y="137"/>
                    <a:pt x="25452" y="135"/>
                  </a:cubicBezTo>
                  <a:cubicBezTo>
                    <a:pt x="24191" y="40"/>
                    <a:pt x="22921" y="0"/>
                    <a:pt x="21650"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0" name="Google Shape;410;p33"/>
            <p:cNvSpPr/>
            <p:nvPr/>
          </p:nvSpPr>
          <p:spPr>
            <a:xfrm>
              <a:off x="5222050" y="4120775"/>
              <a:ext cx="567100" cy="37175"/>
            </a:xfrm>
            <a:custGeom>
              <a:avLst/>
              <a:gdLst/>
              <a:ahLst/>
              <a:cxnLst/>
              <a:rect l="l" t="t" r="r" b="b"/>
              <a:pathLst>
                <a:path w="22684" h="1487" extrusionOk="0">
                  <a:moveTo>
                    <a:pt x="18213" y="0"/>
                  </a:moveTo>
                  <a:cubicBezTo>
                    <a:pt x="12110" y="0"/>
                    <a:pt x="6034" y="334"/>
                    <a:pt x="1" y="1487"/>
                  </a:cubicBezTo>
                  <a:cubicBezTo>
                    <a:pt x="5667" y="860"/>
                    <a:pt x="11333" y="497"/>
                    <a:pt x="17028" y="497"/>
                  </a:cubicBezTo>
                  <a:cubicBezTo>
                    <a:pt x="18910" y="497"/>
                    <a:pt x="20795" y="537"/>
                    <a:pt x="22684" y="620"/>
                  </a:cubicBezTo>
                  <a:cubicBezTo>
                    <a:pt x="22684" y="420"/>
                    <a:pt x="22684" y="253"/>
                    <a:pt x="22684" y="53"/>
                  </a:cubicBezTo>
                  <a:cubicBezTo>
                    <a:pt x="21192" y="20"/>
                    <a:pt x="19701" y="0"/>
                    <a:pt x="18213"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1" name="Google Shape;411;p33"/>
            <p:cNvSpPr/>
            <p:nvPr/>
          </p:nvSpPr>
          <p:spPr>
            <a:xfrm>
              <a:off x="5318800" y="3954400"/>
              <a:ext cx="466175" cy="41775"/>
            </a:xfrm>
            <a:custGeom>
              <a:avLst/>
              <a:gdLst/>
              <a:ahLst/>
              <a:cxnLst/>
              <a:rect l="l" t="t" r="r" b="b"/>
              <a:pathLst>
                <a:path w="18647" h="1671" extrusionOk="0">
                  <a:moveTo>
                    <a:pt x="17861" y="0"/>
                  </a:moveTo>
                  <a:cubicBezTo>
                    <a:pt x="17756" y="0"/>
                    <a:pt x="17651" y="3"/>
                    <a:pt x="17546" y="3"/>
                  </a:cubicBezTo>
                  <a:cubicBezTo>
                    <a:pt x="17373" y="1"/>
                    <a:pt x="17201" y="1"/>
                    <a:pt x="17028" y="1"/>
                  </a:cubicBezTo>
                  <a:cubicBezTo>
                    <a:pt x="13468" y="1"/>
                    <a:pt x="9938" y="323"/>
                    <a:pt x="6438" y="737"/>
                  </a:cubicBezTo>
                  <a:cubicBezTo>
                    <a:pt x="4270" y="1004"/>
                    <a:pt x="2135" y="1370"/>
                    <a:pt x="0" y="1671"/>
                  </a:cubicBezTo>
                  <a:cubicBezTo>
                    <a:pt x="4939" y="1193"/>
                    <a:pt x="9856" y="567"/>
                    <a:pt x="14820" y="567"/>
                  </a:cubicBezTo>
                  <a:cubicBezTo>
                    <a:pt x="16092" y="567"/>
                    <a:pt x="17367" y="608"/>
                    <a:pt x="18647" y="703"/>
                  </a:cubicBezTo>
                  <a:cubicBezTo>
                    <a:pt x="18647" y="503"/>
                    <a:pt x="18647" y="303"/>
                    <a:pt x="18647" y="136"/>
                  </a:cubicBezTo>
                  <a:cubicBezTo>
                    <a:pt x="18385" y="17"/>
                    <a:pt x="18123" y="0"/>
                    <a:pt x="17861"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2" name="Google Shape;412;p33"/>
            <p:cNvSpPr/>
            <p:nvPr/>
          </p:nvSpPr>
          <p:spPr>
            <a:xfrm>
              <a:off x="6031800" y="3884400"/>
              <a:ext cx="217675" cy="149300"/>
            </a:xfrm>
            <a:custGeom>
              <a:avLst/>
              <a:gdLst/>
              <a:ahLst/>
              <a:cxnLst/>
              <a:rect l="l" t="t" r="r" b="b"/>
              <a:pathLst>
                <a:path w="8707" h="5972" extrusionOk="0">
                  <a:moveTo>
                    <a:pt x="201" y="1"/>
                  </a:moveTo>
                  <a:lnTo>
                    <a:pt x="201" y="1"/>
                  </a:lnTo>
                  <a:cubicBezTo>
                    <a:pt x="234" y="301"/>
                    <a:pt x="201" y="635"/>
                    <a:pt x="1" y="901"/>
                  </a:cubicBezTo>
                  <a:cubicBezTo>
                    <a:pt x="34" y="968"/>
                    <a:pt x="34" y="1035"/>
                    <a:pt x="34" y="1102"/>
                  </a:cubicBezTo>
                  <a:cubicBezTo>
                    <a:pt x="3403" y="1902"/>
                    <a:pt x="6172" y="3737"/>
                    <a:pt x="8707" y="5972"/>
                  </a:cubicBezTo>
                  <a:cubicBezTo>
                    <a:pt x="6605" y="2936"/>
                    <a:pt x="3636" y="1168"/>
                    <a:pt x="201" y="1"/>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3" name="Google Shape;413;p33"/>
            <p:cNvSpPr/>
            <p:nvPr/>
          </p:nvSpPr>
          <p:spPr>
            <a:xfrm>
              <a:off x="5845000" y="4127100"/>
              <a:ext cx="140125" cy="31700"/>
            </a:xfrm>
            <a:custGeom>
              <a:avLst/>
              <a:gdLst/>
              <a:ahLst/>
              <a:cxnLst/>
              <a:rect l="l" t="t" r="r" b="b"/>
              <a:pathLst>
                <a:path w="5605" h="1268" extrusionOk="0">
                  <a:moveTo>
                    <a:pt x="1613" y="0"/>
                  </a:moveTo>
                  <a:cubicBezTo>
                    <a:pt x="1267" y="0"/>
                    <a:pt x="918" y="38"/>
                    <a:pt x="568" y="133"/>
                  </a:cubicBezTo>
                  <a:cubicBezTo>
                    <a:pt x="301" y="167"/>
                    <a:pt x="101" y="300"/>
                    <a:pt x="1" y="533"/>
                  </a:cubicBezTo>
                  <a:cubicBezTo>
                    <a:pt x="1869" y="767"/>
                    <a:pt x="3737" y="1034"/>
                    <a:pt x="5605" y="1267"/>
                  </a:cubicBezTo>
                  <a:cubicBezTo>
                    <a:pt x="5304" y="1034"/>
                    <a:pt x="5004" y="800"/>
                    <a:pt x="4704" y="533"/>
                  </a:cubicBezTo>
                  <a:cubicBezTo>
                    <a:pt x="4659" y="556"/>
                    <a:pt x="4617" y="565"/>
                    <a:pt x="4577" y="565"/>
                  </a:cubicBezTo>
                  <a:cubicBezTo>
                    <a:pt x="4442" y="565"/>
                    <a:pt x="4333" y="459"/>
                    <a:pt x="4204" y="433"/>
                  </a:cubicBezTo>
                  <a:cubicBezTo>
                    <a:pt x="3344" y="242"/>
                    <a:pt x="2485" y="0"/>
                    <a:pt x="1613" y="0"/>
                  </a:cubicBezTo>
                  <a:close/>
                </a:path>
              </a:pathLst>
            </a:custGeom>
            <a:solidFill>
              <a:srgbClr val="95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4" name="Google Shape;414;p33"/>
            <p:cNvSpPr/>
            <p:nvPr/>
          </p:nvSpPr>
          <p:spPr>
            <a:xfrm>
              <a:off x="5542275" y="2440275"/>
              <a:ext cx="2090700" cy="1606775"/>
            </a:xfrm>
            <a:custGeom>
              <a:avLst/>
              <a:gdLst/>
              <a:ahLst/>
              <a:cxnLst/>
              <a:rect l="l" t="t" r="r" b="b"/>
              <a:pathLst>
                <a:path w="83628" h="64271" extrusionOk="0">
                  <a:moveTo>
                    <a:pt x="17063" y="0"/>
                  </a:moveTo>
                  <a:cubicBezTo>
                    <a:pt x="16874" y="0"/>
                    <a:pt x="16663" y="70"/>
                    <a:pt x="16413" y="225"/>
                  </a:cubicBezTo>
                  <a:cubicBezTo>
                    <a:pt x="13344" y="2193"/>
                    <a:pt x="10242" y="4127"/>
                    <a:pt x="7139" y="6062"/>
                  </a:cubicBezTo>
                  <a:cubicBezTo>
                    <a:pt x="4771" y="7530"/>
                    <a:pt x="2369" y="9031"/>
                    <a:pt x="1" y="10499"/>
                  </a:cubicBezTo>
                  <a:cubicBezTo>
                    <a:pt x="1602" y="12000"/>
                    <a:pt x="3237" y="13501"/>
                    <a:pt x="4804" y="15035"/>
                  </a:cubicBezTo>
                  <a:cubicBezTo>
                    <a:pt x="7073" y="17237"/>
                    <a:pt x="9341" y="19472"/>
                    <a:pt x="11476" y="21807"/>
                  </a:cubicBezTo>
                  <a:cubicBezTo>
                    <a:pt x="13110" y="23608"/>
                    <a:pt x="14778" y="25376"/>
                    <a:pt x="16379" y="27177"/>
                  </a:cubicBezTo>
                  <a:cubicBezTo>
                    <a:pt x="19815" y="31113"/>
                    <a:pt x="23084" y="35183"/>
                    <a:pt x="26086" y="39486"/>
                  </a:cubicBezTo>
                  <a:cubicBezTo>
                    <a:pt x="28254" y="42588"/>
                    <a:pt x="30389" y="45724"/>
                    <a:pt x="31957" y="49193"/>
                  </a:cubicBezTo>
                  <a:cubicBezTo>
                    <a:pt x="33191" y="51895"/>
                    <a:pt x="33992" y="54664"/>
                    <a:pt x="34325" y="57599"/>
                  </a:cubicBezTo>
                  <a:cubicBezTo>
                    <a:pt x="34325" y="57833"/>
                    <a:pt x="34225" y="58199"/>
                    <a:pt x="34559" y="58266"/>
                  </a:cubicBezTo>
                  <a:lnTo>
                    <a:pt x="34559" y="64270"/>
                  </a:lnTo>
                  <a:cubicBezTo>
                    <a:pt x="36293" y="61869"/>
                    <a:pt x="37928" y="59634"/>
                    <a:pt x="39562" y="57366"/>
                  </a:cubicBezTo>
                  <a:cubicBezTo>
                    <a:pt x="39578" y="57367"/>
                    <a:pt x="39594" y="57367"/>
                    <a:pt x="39609" y="57367"/>
                  </a:cubicBezTo>
                  <a:cubicBezTo>
                    <a:pt x="39976" y="57367"/>
                    <a:pt x="40137" y="56988"/>
                    <a:pt x="40330" y="56732"/>
                  </a:cubicBezTo>
                  <a:cubicBezTo>
                    <a:pt x="43232" y="52896"/>
                    <a:pt x="46334" y="49226"/>
                    <a:pt x="49603" y="45690"/>
                  </a:cubicBezTo>
                  <a:cubicBezTo>
                    <a:pt x="53439" y="41521"/>
                    <a:pt x="57642" y="37751"/>
                    <a:pt x="62345" y="34583"/>
                  </a:cubicBezTo>
                  <a:lnTo>
                    <a:pt x="62345" y="34616"/>
                  </a:lnTo>
                  <a:cubicBezTo>
                    <a:pt x="63046" y="34082"/>
                    <a:pt x="63846" y="33715"/>
                    <a:pt x="64547" y="33215"/>
                  </a:cubicBezTo>
                  <a:cubicBezTo>
                    <a:pt x="69417" y="30046"/>
                    <a:pt x="74554" y="27377"/>
                    <a:pt x="79858" y="24976"/>
                  </a:cubicBezTo>
                  <a:cubicBezTo>
                    <a:pt x="79958" y="24942"/>
                    <a:pt x="80225" y="24809"/>
                    <a:pt x="80558" y="24642"/>
                  </a:cubicBezTo>
                  <a:cubicBezTo>
                    <a:pt x="81793" y="24008"/>
                    <a:pt x="82827" y="23541"/>
                    <a:pt x="83627" y="23208"/>
                  </a:cubicBezTo>
                  <a:lnTo>
                    <a:pt x="83627" y="23208"/>
                  </a:lnTo>
                  <a:cubicBezTo>
                    <a:pt x="82460" y="23541"/>
                    <a:pt x="80592" y="24142"/>
                    <a:pt x="78323" y="24842"/>
                  </a:cubicBezTo>
                  <a:cubicBezTo>
                    <a:pt x="76422" y="25409"/>
                    <a:pt x="73487" y="26310"/>
                    <a:pt x="69984" y="27544"/>
                  </a:cubicBezTo>
                  <a:cubicBezTo>
                    <a:pt x="58209" y="31781"/>
                    <a:pt x="49770" y="34883"/>
                    <a:pt x="42698" y="42121"/>
                  </a:cubicBezTo>
                  <a:cubicBezTo>
                    <a:pt x="40997" y="43889"/>
                    <a:pt x="38562" y="46725"/>
                    <a:pt x="36293" y="50794"/>
                  </a:cubicBezTo>
                  <a:cubicBezTo>
                    <a:pt x="36027" y="43255"/>
                    <a:pt x="35059" y="37118"/>
                    <a:pt x="34159" y="32781"/>
                  </a:cubicBezTo>
                  <a:cubicBezTo>
                    <a:pt x="33391" y="29012"/>
                    <a:pt x="32791" y="26177"/>
                    <a:pt x="31390" y="22407"/>
                  </a:cubicBezTo>
                  <a:cubicBezTo>
                    <a:pt x="29422" y="17137"/>
                    <a:pt x="26653" y="12300"/>
                    <a:pt x="23351" y="7730"/>
                  </a:cubicBezTo>
                  <a:cubicBezTo>
                    <a:pt x="21616" y="5328"/>
                    <a:pt x="19782" y="2927"/>
                    <a:pt x="17947" y="592"/>
                  </a:cubicBezTo>
                  <a:cubicBezTo>
                    <a:pt x="17668" y="227"/>
                    <a:pt x="17403" y="0"/>
                    <a:pt x="17063"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5" name="Google Shape;415;p33"/>
            <p:cNvSpPr/>
            <p:nvPr/>
          </p:nvSpPr>
          <p:spPr>
            <a:xfrm>
              <a:off x="4916850" y="3048800"/>
              <a:ext cx="1384325" cy="812575"/>
            </a:xfrm>
            <a:custGeom>
              <a:avLst/>
              <a:gdLst/>
              <a:ahLst/>
              <a:cxnLst/>
              <a:rect l="l" t="t" r="r" b="b"/>
              <a:pathLst>
                <a:path w="55373" h="32503" extrusionOk="0">
                  <a:moveTo>
                    <a:pt x="21649" y="1"/>
                  </a:moveTo>
                  <a:cubicBezTo>
                    <a:pt x="21549" y="134"/>
                    <a:pt x="21482" y="268"/>
                    <a:pt x="21349" y="368"/>
                  </a:cubicBezTo>
                  <a:cubicBezTo>
                    <a:pt x="19914" y="1335"/>
                    <a:pt x="18547" y="2369"/>
                    <a:pt x="17179" y="3370"/>
                  </a:cubicBezTo>
                  <a:cubicBezTo>
                    <a:pt x="14077" y="5672"/>
                    <a:pt x="11275" y="8273"/>
                    <a:pt x="8439" y="10909"/>
                  </a:cubicBezTo>
                  <a:cubicBezTo>
                    <a:pt x="5637" y="13511"/>
                    <a:pt x="3002" y="16346"/>
                    <a:pt x="367" y="19148"/>
                  </a:cubicBezTo>
                  <a:cubicBezTo>
                    <a:pt x="200" y="19315"/>
                    <a:pt x="0" y="19481"/>
                    <a:pt x="0" y="19782"/>
                  </a:cubicBezTo>
                  <a:cubicBezTo>
                    <a:pt x="176" y="20016"/>
                    <a:pt x="428" y="20121"/>
                    <a:pt x="712" y="20121"/>
                  </a:cubicBezTo>
                  <a:cubicBezTo>
                    <a:pt x="752" y="20121"/>
                    <a:pt x="793" y="20119"/>
                    <a:pt x="834" y="20115"/>
                  </a:cubicBezTo>
                  <a:cubicBezTo>
                    <a:pt x="893" y="20113"/>
                    <a:pt x="953" y="20112"/>
                    <a:pt x="1012" y="20112"/>
                  </a:cubicBezTo>
                  <a:cubicBezTo>
                    <a:pt x="1849" y="20112"/>
                    <a:pt x="2661" y="20320"/>
                    <a:pt x="3503" y="20382"/>
                  </a:cubicBezTo>
                  <a:cubicBezTo>
                    <a:pt x="7105" y="20649"/>
                    <a:pt x="10674" y="20983"/>
                    <a:pt x="14244" y="21316"/>
                  </a:cubicBezTo>
                  <a:cubicBezTo>
                    <a:pt x="18280" y="21683"/>
                    <a:pt x="22283" y="22083"/>
                    <a:pt x="26285" y="22617"/>
                  </a:cubicBezTo>
                  <a:cubicBezTo>
                    <a:pt x="31623" y="23284"/>
                    <a:pt x="36960" y="24185"/>
                    <a:pt x="42163" y="25619"/>
                  </a:cubicBezTo>
                  <a:cubicBezTo>
                    <a:pt x="45766" y="26620"/>
                    <a:pt x="49269" y="27888"/>
                    <a:pt x="52271" y="30223"/>
                  </a:cubicBezTo>
                  <a:cubicBezTo>
                    <a:pt x="52971" y="30790"/>
                    <a:pt x="53572" y="31457"/>
                    <a:pt x="54239" y="32091"/>
                  </a:cubicBezTo>
                  <a:cubicBezTo>
                    <a:pt x="54401" y="32253"/>
                    <a:pt x="54629" y="32503"/>
                    <a:pt x="54852" y="32503"/>
                  </a:cubicBezTo>
                  <a:cubicBezTo>
                    <a:pt x="54904" y="32503"/>
                    <a:pt x="54955" y="32489"/>
                    <a:pt x="55006" y="32457"/>
                  </a:cubicBezTo>
                  <a:cubicBezTo>
                    <a:pt x="55373" y="32191"/>
                    <a:pt x="55106" y="31824"/>
                    <a:pt x="54973" y="31523"/>
                  </a:cubicBezTo>
                  <a:cubicBezTo>
                    <a:pt x="54706" y="30990"/>
                    <a:pt x="54406" y="30456"/>
                    <a:pt x="54039" y="30022"/>
                  </a:cubicBezTo>
                  <a:cubicBezTo>
                    <a:pt x="53905" y="29889"/>
                    <a:pt x="53772" y="29756"/>
                    <a:pt x="53638" y="29655"/>
                  </a:cubicBezTo>
                  <a:cubicBezTo>
                    <a:pt x="53605" y="29522"/>
                    <a:pt x="53538" y="29422"/>
                    <a:pt x="53505" y="29355"/>
                  </a:cubicBezTo>
                  <a:cubicBezTo>
                    <a:pt x="51036" y="25319"/>
                    <a:pt x="48134" y="21616"/>
                    <a:pt x="44899" y="18181"/>
                  </a:cubicBezTo>
                  <a:cubicBezTo>
                    <a:pt x="42731" y="15846"/>
                    <a:pt x="40462" y="13611"/>
                    <a:pt x="38027" y="11576"/>
                  </a:cubicBezTo>
                  <a:cubicBezTo>
                    <a:pt x="34558" y="8674"/>
                    <a:pt x="30955" y="6005"/>
                    <a:pt x="27253" y="3437"/>
                  </a:cubicBezTo>
                  <a:cubicBezTo>
                    <a:pt x="26252" y="2770"/>
                    <a:pt x="25251" y="2069"/>
                    <a:pt x="24251" y="1402"/>
                  </a:cubicBezTo>
                  <a:cubicBezTo>
                    <a:pt x="24251" y="1469"/>
                    <a:pt x="24251" y="1535"/>
                    <a:pt x="24217" y="1602"/>
                  </a:cubicBezTo>
                  <a:cubicBezTo>
                    <a:pt x="23517" y="835"/>
                    <a:pt x="22716" y="201"/>
                    <a:pt x="21649" y="1"/>
                  </a:cubicBezTo>
                  <a:close/>
                </a:path>
              </a:pathLst>
            </a:custGeom>
            <a:solidFill>
              <a:srgbClr val="F7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6" name="Google Shape;416;p33"/>
            <p:cNvSpPr/>
            <p:nvPr/>
          </p:nvSpPr>
          <p:spPr>
            <a:xfrm>
              <a:off x="4636650" y="3556550"/>
              <a:ext cx="1722075" cy="527425"/>
            </a:xfrm>
            <a:custGeom>
              <a:avLst/>
              <a:gdLst/>
              <a:ahLst/>
              <a:cxnLst/>
              <a:rect l="l" t="t" r="r" b="b"/>
              <a:pathLst>
                <a:path w="68883" h="21097" extrusionOk="0">
                  <a:moveTo>
                    <a:pt x="14942" y="1"/>
                  </a:moveTo>
                  <a:cubicBezTo>
                    <a:pt x="14743" y="1"/>
                    <a:pt x="14552" y="46"/>
                    <a:pt x="14377" y="206"/>
                  </a:cubicBezTo>
                  <a:cubicBezTo>
                    <a:pt x="14377" y="406"/>
                    <a:pt x="14277" y="572"/>
                    <a:pt x="14143" y="706"/>
                  </a:cubicBezTo>
                  <a:cubicBezTo>
                    <a:pt x="11542" y="3341"/>
                    <a:pt x="9140" y="6143"/>
                    <a:pt x="6671" y="8912"/>
                  </a:cubicBezTo>
                  <a:cubicBezTo>
                    <a:pt x="4437" y="11447"/>
                    <a:pt x="2135" y="13949"/>
                    <a:pt x="0" y="16617"/>
                  </a:cubicBezTo>
                  <a:cubicBezTo>
                    <a:pt x="3536" y="16217"/>
                    <a:pt x="7038" y="15550"/>
                    <a:pt x="10541" y="14883"/>
                  </a:cubicBezTo>
                  <a:cubicBezTo>
                    <a:pt x="16612" y="13682"/>
                    <a:pt x="22650" y="12314"/>
                    <a:pt x="28687" y="11080"/>
                  </a:cubicBezTo>
                  <a:cubicBezTo>
                    <a:pt x="32857" y="10246"/>
                    <a:pt x="37060" y="9646"/>
                    <a:pt x="41296" y="9379"/>
                  </a:cubicBezTo>
                  <a:cubicBezTo>
                    <a:pt x="42267" y="9325"/>
                    <a:pt x="43240" y="9298"/>
                    <a:pt x="44214" y="9298"/>
                  </a:cubicBezTo>
                  <a:cubicBezTo>
                    <a:pt x="46856" y="9298"/>
                    <a:pt x="49505" y="9498"/>
                    <a:pt x="52137" y="9913"/>
                  </a:cubicBezTo>
                  <a:cubicBezTo>
                    <a:pt x="55740" y="10480"/>
                    <a:pt x="59142" y="11580"/>
                    <a:pt x="62078" y="13782"/>
                  </a:cubicBezTo>
                  <a:cubicBezTo>
                    <a:pt x="64579" y="15650"/>
                    <a:pt x="66581" y="17852"/>
                    <a:pt x="67715" y="20787"/>
                  </a:cubicBezTo>
                  <a:cubicBezTo>
                    <a:pt x="67814" y="21023"/>
                    <a:pt x="67970" y="21097"/>
                    <a:pt x="68144" y="21097"/>
                  </a:cubicBezTo>
                  <a:cubicBezTo>
                    <a:pt x="68264" y="21097"/>
                    <a:pt x="68393" y="21061"/>
                    <a:pt x="68516" y="21020"/>
                  </a:cubicBezTo>
                  <a:cubicBezTo>
                    <a:pt x="68849" y="20820"/>
                    <a:pt x="68883" y="20487"/>
                    <a:pt x="68849" y="20120"/>
                  </a:cubicBezTo>
                  <a:cubicBezTo>
                    <a:pt x="68749" y="19453"/>
                    <a:pt x="68682" y="18752"/>
                    <a:pt x="68349" y="18118"/>
                  </a:cubicBezTo>
                  <a:cubicBezTo>
                    <a:pt x="68215" y="17918"/>
                    <a:pt x="68115" y="17718"/>
                    <a:pt x="68015" y="17518"/>
                  </a:cubicBezTo>
                  <a:cubicBezTo>
                    <a:pt x="67348" y="14382"/>
                    <a:pt x="65513" y="11947"/>
                    <a:pt x="63078" y="9913"/>
                  </a:cubicBezTo>
                  <a:cubicBezTo>
                    <a:pt x="60977" y="8178"/>
                    <a:pt x="58408" y="7144"/>
                    <a:pt x="55840" y="6243"/>
                  </a:cubicBezTo>
                  <a:cubicBezTo>
                    <a:pt x="50503" y="4409"/>
                    <a:pt x="44999" y="3408"/>
                    <a:pt x="39462" y="2641"/>
                  </a:cubicBezTo>
                  <a:cubicBezTo>
                    <a:pt x="36559" y="2240"/>
                    <a:pt x="33624" y="1873"/>
                    <a:pt x="30689" y="1640"/>
                  </a:cubicBezTo>
                  <a:cubicBezTo>
                    <a:pt x="27686" y="1406"/>
                    <a:pt x="24684" y="1073"/>
                    <a:pt x="21649" y="773"/>
                  </a:cubicBezTo>
                  <a:cubicBezTo>
                    <a:pt x="20664" y="744"/>
                    <a:pt x="19679" y="550"/>
                    <a:pt x="18674" y="550"/>
                  </a:cubicBezTo>
                  <a:cubicBezTo>
                    <a:pt x="18488" y="550"/>
                    <a:pt x="18301" y="557"/>
                    <a:pt x="18113" y="572"/>
                  </a:cubicBezTo>
                  <a:cubicBezTo>
                    <a:pt x="18113" y="572"/>
                    <a:pt x="18113" y="572"/>
                    <a:pt x="18113" y="606"/>
                  </a:cubicBezTo>
                  <a:cubicBezTo>
                    <a:pt x="18080" y="572"/>
                    <a:pt x="18080" y="506"/>
                    <a:pt x="18046" y="472"/>
                  </a:cubicBezTo>
                  <a:cubicBezTo>
                    <a:pt x="17246" y="172"/>
                    <a:pt x="16412" y="206"/>
                    <a:pt x="15611" y="72"/>
                  </a:cubicBezTo>
                  <a:cubicBezTo>
                    <a:pt x="15385" y="55"/>
                    <a:pt x="15159" y="1"/>
                    <a:pt x="14942" y="1"/>
                  </a:cubicBezTo>
                  <a:close/>
                </a:path>
              </a:pathLst>
            </a:custGeom>
            <a:solidFill>
              <a:srgbClr val="F7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7" name="Google Shape;417;p33"/>
            <p:cNvSpPr/>
            <p:nvPr/>
          </p:nvSpPr>
          <p:spPr>
            <a:xfrm>
              <a:off x="5317950" y="2758600"/>
              <a:ext cx="1082475" cy="1322650"/>
            </a:xfrm>
            <a:custGeom>
              <a:avLst/>
              <a:gdLst/>
              <a:ahLst/>
              <a:cxnLst/>
              <a:rect l="l" t="t" r="r" b="b"/>
              <a:pathLst>
                <a:path w="43299" h="52906" extrusionOk="0">
                  <a:moveTo>
                    <a:pt x="11109" y="1"/>
                  </a:moveTo>
                  <a:cubicBezTo>
                    <a:pt x="11109" y="1"/>
                    <a:pt x="11042" y="34"/>
                    <a:pt x="11009" y="34"/>
                  </a:cubicBezTo>
                  <a:cubicBezTo>
                    <a:pt x="10909" y="267"/>
                    <a:pt x="10742" y="434"/>
                    <a:pt x="10508" y="534"/>
                  </a:cubicBezTo>
                  <a:cubicBezTo>
                    <a:pt x="6806" y="2536"/>
                    <a:pt x="3403" y="5004"/>
                    <a:pt x="1" y="7473"/>
                  </a:cubicBezTo>
                  <a:cubicBezTo>
                    <a:pt x="268" y="7873"/>
                    <a:pt x="701" y="8106"/>
                    <a:pt x="1102" y="8340"/>
                  </a:cubicBezTo>
                  <a:cubicBezTo>
                    <a:pt x="7506" y="12409"/>
                    <a:pt x="13877" y="16579"/>
                    <a:pt x="19948" y="21216"/>
                  </a:cubicBezTo>
                  <a:cubicBezTo>
                    <a:pt x="23885" y="24251"/>
                    <a:pt x="27487" y="27654"/>
                    <a:pt x="30756" y="31423"/>
                  </a:cubicBezTo>
                  <a:cubicBezTo>
                    <a:pt x="34025" y="35192"/>
                    <a:pt x="36961" y="39162"/>
                    <a:pt x="39329" y="43565"/>
                  </a:cubicBezTo>
                  <a:cubicBezTo>
                    <a:pt x="40763" y="46267"/>
                    <a:pt x="42031" y="49036"/>
                    <a:pt x="42164" y="52171"/>
                  </a:cubicBezTo>
                  <a:cubicBezTo>
                    <a:pt x="42164" y="52471"/>
                    <a:pt x="42131" y="52905"/>
                    <a:pt x="42665" y="52905"/>
                  </a:cubicBezTo>
                  <a:cubicBezTo>
                    <a:pt x="42998" y="52705"/>
                    <a:pt x="42998" y="52338"/>
                    <a:pt x="43065" y="52038"/>
                  </a:cubicBezTo>
                  <a:cubicBezTo>
                    <a:pt x="43298" y="50737"/>
                    <a:pt x="43232" y="49469"/>
                    <a:pt x="43165" y="48168"/>
                  </a:cubicBezTo>
                  <a:cubicBezTo>
                    <a:pt x="43098" y="47902"/>
                    <a:pt x="42998" y="47635"/>
                    <a:pt x="42931" y="47368"/>
                  </a:cubicBezTo>
                  <a:cubicBezTo>
                    <a:pt x="42998" y="43832"/>
                    <a:pt x="42264" y="40396"/>
                    <a:pt x="40863" y="37127"/>
                  </a:cubicBezTo>
                  <a:cubicBezTo>
                    <a:pt x="38795" y="32257"/>
                    <a:pt x="35626" y="28087"/>
                    <a:pt x="32491" y="23851"/>
                  </a:cubicBezTo>
                  <a:cubicBezTo>
                    <a:pt x="29956" y="20415"/>
                    <a:pt x="27287" y="17079"/>
                    <a:pt x="24485" y="13877"/>
                  </a:cubicBezTo>
                  <a:cubicBezTo>
                    <a:pt x="22017" y="11042"/>
                    <a:pt x="19515" y="8240"/>
                    <a:pt x="16813" y="5638"/>
                  </a:cubicBezTo>
                  <a:cubicBezTo>
                    <a:pt x="15879" y="4637"/>
                    <a:pt x="14945" y="3603"/>
                    <a:pt x="13877" y="2736"/>
                  </a:cubicBezTo>
                  <a:cubicBezTo>
                    <a:pt x="13911" y="2703"/>
                    <a:pt x="13911" y="2669"/>
                    <a:pt x="13911" y="2636"/>
                  </a:cubicBezTo>
                  <a:cubicBezTo>
                    <a:pt x="13244" y="1502"/>
                    <a:pt x="12176" y="734"/>
                    <a:pt x="11109" y="1"/>
                  </a:cubicBezTo>
                  <a:close/>
                </a:path>
              </a:pathLst>
            </a:custGeom>
            <a:solidFill>
              <a:srgbClr val="F7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8" name="Google Shape;418;p33"/>
            <p:cNvSpPr/>
            <p:nvPr/>
          </p:nvSpPr>
          <p:spPr>
            <a:xfrm>
              <a:off x="6401225" y="3495475"/>
              <a:ext cx="1623700" cy="595800"/>
            </a:xfrm>
            <a:custGeom>
              <a:avLst/>
              <a:gdLst/>
              <a:ahLst/>
              <a:cxnLst/>
              <a:rect l="l" t="t" r="r" b="b"/>
              <a:pathLst>
                <a:path w="64948" h="23832" extrusionOk="0">
                  <a:moveTo>
                    <a:pt x="31296" y="1"/>
                  </a:moveTo>
                  <a:cubicBezTo>
                    <a:pt x="29430" y="1"/>
                    <a:pt x="27569" y="92"/>
                    <a:pt x="25719" y="414"/>
                  </a:cubicBezTo>
                  <a:cubicBezTo>
                    <a:pt x="22417" y="947"/>
                    <a:pt x="19281" y="1848"/>
                    <a:pt x="16312" y="3416"/>
                  </a:cubicBezTo>
                  <a:cubicBezTo>
                    <a:pt x="16079" y="3549"/>
                    <a:pt x="14711" y="4517"/>
                    <a:pt x="14678" y="4517"/>
                  </a:cubicBezTo>
                  <a:cubicBezTo>
                    <a:pt x="14444" y="4750"/>
                    <a:pt x="14211" y="4917"/>
                    <a:pt x="14011" y="5150"/>
                  </a:cubicBezTo>
                  <a:cubicBezTo>
                    <a:pt x="12310" y="7185"/>
                    <a:pt x="10575" y="9153"/>
                    <a:pt x="8907" y="11221"/>
                  </a:cubicBezTo>
                  <a:cubicBezTo>
                    <a:pt x="6906" y="13757"/>
                    <a:pt x="4904" y="16325"/>
                    <a:pt x="3103" y="19060"/>
                  </a:cubicBezTo>
                  <a:cubicBezTo>
                    <a:pt x="1935" y="20495"/>
                    <a:pt x="901" y="22062"/>
                    <a:pt x="1" y="23730"/>
                  </a:cubicBezTo>
                  <a:cubicBezTo>
                    <a:pt x="65" y="23795"/>
                    <a:pt x="144" y="23832"/>
                    <a:pt x="227" y="23832"/>
                  </a:cubicBezTo>
                  <a:cubicBezTo>
                    <a:pt x="273" y="23832"/>
                    <a:pt x="320" y="23821"/>
                    <a:pt x="368" y="23797"/>
                  </a:cubicBezTo>
                  <a:cubicBezTo>
                    <a:pt x="635" y="23430"/>
                    <a:pt x="868" y="22996"/>
                    <a:pt x="1168" y="22663"/>
                  </a:cubicBezTo>
                  <a:cubicBezTo>
                    <a:pt x="3503" y="20161"/>
                    <a:pt x="6172" y="18193"/>
                    <a:pt x="9274" y="16759"/>
                  </a:cubicBezTo>
                  <a:cubicBezTo>
                    <a:pt x="13677" y="14724"/>
                    <a:pt x="18347" y="13790"/>
                    <a:pt x="23151" y="13456"/>
                  </a:cubicBezTo>
                  <a:cubicBezTo>
                    <a:pt x="23801" y="13390"/>
                    <a:pt x="24452" y="13356"/>
                    <a:pt x="25102" y="13356"/>
                  </a:cubicBezTo>
                  <a:cubicBezTo>
                    <a:pt x="25752" y="13356"/>
                    <a:pt x="26403" y="13390"/>
                    <a:pt x="27053" y="13456"/>
                  </a:cubicBezTo>
                  <a:cubicBezTo>
                    <a:pt x="29021" y="13456"/>
                    <a:pt x="30956" y="13690"/>
                    <a:pt x="32891" y="13823"/>
                  </a:cubicBezTo>
                  <a:cubicBezTo>
                    <a:pt x="36827" y="14057"/>
                    <a:pt x="40630" y="14957"/>
                    <a:pt x="44499" y="15591"/>
                  </a:cubicBezTo>
                  <a:cubicBezTo>
                    <a:pt x="46334" y="15891"/>
                    <a:pt x="48135" y="16492"/>
                    <a:pt x="50036" y="16659"/>
                  </a:cubicBezTo>
                  <a:cubicBezTo>
                    <a:pt x="50804" y="16959"/>
                    <a:pt x="51638" y="16992"/>
                    <a:pt x="52472" y="17126"/>
                  </a:cubicBezTo>
                  <a:cubicBezTo>
                    <a:pt x="56608" y="17926"/>
                    <a:pt x="60777" y="18593"/>
                    <a:pt x="64947" y="19060"/>
                  </a:cubicBezTo>
                  <a:cubicBezTo>
                    <a:pt x="64880" y="18693"/>
                    <a:pt x="64680" y="18427"/>
                    <a:pt x="64480" y="18160"/>
                  </a:cubicBezTo>
                  <a:cubicBezTo>
                    <a:pt x="61645" y="13923"/>
                    <a:pt x="58743" y="9754"/>
                    <a:pt x="55974" y="5484"/>
                  </a:cubicBezTo>
                  <a:cubicBezTo>
                    <a:pt x="55140" y="4150"/>
                    <a:pt x="54073" y="3516"/>
                    <a:pt x="52638" y="3182"/>
                  </a:cubicBezTo>
                  <a:cubicBezTo>
                    <a:pt x="48936" y="2248"/>
                    <a:pt x="45233" y="1514"/>
                    <a:pt x="41497" y="914"/>
                  </a:cubicBezTo>
                  <a:cubicBezTo>
                    <a:pt x="39329" y="580"/>
                    <a:pt x="37161" y="180"/>
                    <a:pt x="34992" y="80"/>
                  </a:cubicBezTo>
                  <a:cubicBezTo>
                    <a:pt x="33760" y="40"/>
                    <a:pt x="32527" y="1"/>
                    <a:pt x="31296" y="1"/>
                  </a:cubicBezTo>
                  <a:close/>
                </a:path>
              </a:pathLst>
            </a:custGeom>
            <a:solidFill>
              <a:srgbClr val="F6F7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9" name="Google Shape;419;p33"/>
            <p:cNvSpPr/>
            <p:nvPr/>
          </p:nvSpPr>
          <p:spPr>
            <a:xfrm>
              <a:off x="5859175" y="4099775"/>
              <a:ext cx="103425" cy="42225"/>
            </a:xfrm>
            <a:custGeom>
              <a:avLst/>
              <a:gdLst/>
              <a:ahLst/>
              <a:cxnLst/>
              <a:rect l="l" t="t" r="r" b="b"/>
              <a:pathLst>
                <a:path w="4137" h="1689" extrusionOk="0">
                  <a:moveTo>
                    <a:pt x="1928" y="0"/>
                  </a:moveTo>
                  <a:cubicBezTo>
                    <a:pt x="1848" y="0"/>
                    <a:pt x="1762" y="27"/>
                    <a:pt x="1668" y="92"/>
                  </a:cubicBezTo>
                  <a:cubicBezTo>
                    <a:pt x="1135" y="526"/>
                    <a:pt x="468" y="726"/>
                    <a:pt x="1" y="1226"/>
                  </a:cubicBezTo>
                  <a:cubicBezTo>
                    <a:pt x="334" y="1293"/>
                    <a:pt x="668" y="1360"/>
                    <a:pt x="1001" y="1360"/>
                  </a:cubicBezTo>
                  <a:cubicBezTo>
                    <a:pt x="1867" y="1360"/>
                    <a:pt x="2688" y="1689"/>
                    <a:pt x="3537" y="1689"/>
                  </a:cubicBezTo>
                  <a:cubicBezTo>
                    <a:pt x="3735" y="1689"/>
                    <a:pt x="3935" y="1671"/>
                    <a:pt x="4137" y="1626"/>
                  </a:cubicBezTo>
                  <a:cubicBezTo>
                    <a:pt x="3603" y="1193"/>
                    <a:pt x="3036" y="759"/>
                    <a:pt x="2469" y="292"/>
                  </a:cubicBezTo>
                  <a:cubicBezTo>
                    <a:pt x="2301" y="172"/>
                    <a:pt x="2133" y="0"/>
                    <a:pt x="1928" y="0"/>
                  </a:cubicBezTo>
                  <a:close/>
                </a:path>
              </a:pathLst>
            </a:custGeom>
            <a:solidFill>
              <a:srgbClr val="CDB098"/>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0" name="Google Shape;420;p33"/>
            <p:cNvSpPr/>
            <p:nvPr/>
          </p:nvSpPr>
          <p:spPr>
            <a:xfrm>
              <a:off x="4913500" y="2945400"/>
              <a:ext cx="1508600" cy="1140000"/>
            </a:xfrm>
            <a:custGeom>
              <a:avLst/>
              <a:gdLst/>
              <a:ahLst/>
              <a:cxnLst/>
              <a:rect l="l" t="t" r="r" b="b"/>
              <a:pathLst>
                <a:path w="60344" h="45600" extrusionOk="0">
                  <a:moveTo>
                    <a:pt x="16179" y="1"/>
                  </a:moveTo>
                  <a:lnTo>
                    <a:pt x="16179" y="1"/>
                  </a:lnTo>
                  <a:cubicBezTo>
                    <a:pt x="28855" y="10208"/>
                    <a:pt x="45033" y="17747"/>
                    <a:pt x="55107" y="36527"/>
                  </a:cubicBezTo>
                  <a:cubicBezTo>
                    <a:pt x="48135" y="27454"/>
                    <a:pt x="18581" y="24885"/>
                    <a:pt x="1" y="24285"/>
                  </a:cubicBezTo>
                  <a:lnTo>
                    <a:pt x="1" y="24285"/>
                  </a:lnTo>
                  <a:cubicBezTo>
                    <a:pt x="9574" y="26786"/>
                    <a:pt x="47034" y="24518"/>
                    <a:pt x="55507" y="38928"/>
                  </a:cubicBezTo>
                  <a:cubicBezTo>
                    <a:pt x="57141" y="40897"/>
                    <a:pt x="56908" y="44366"/>
                    <a:pt x="57909" y="45600"/>
                  </a:cubicBezTo>
                  <a:cubicBezTo>
                    <a:pt x="60344" y="30589"/>
                    <a:pt x="31223" y="8307"/>
                    <a:pt x="16179" y="1"/>
                  </a:cubicBezTo>
                  <a:close/>
                </a:path>
              </a:pathLst>
            </a:custGeom>
            <a:solidFill>
              <a:srgbClr val="AD968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1" name="Google Shape;421;p33"/>
            <p:cNvSpPr/>
            <p:nvPr/>
          </p:nvSpPr>
          <p:spPr>
            <a:xfrm>
              <a:off x="5538200" y="2705250"/>
              <a:ext cx="1562725" cy="1385775"/>
            </a:xfrm>
            <a:custGeom>
              <a:avLst/>
              <a:gdLst/>
              <a:ahLst/>
              <a:cxnLst/>
              <a:rect l="l" t="t" r="r" b="b"/>
              <a:pathLst>
                <a:path w="62509" h="55431" extrusionOk="0">
                  <a:moveTo>
                    <a:pt x="318" y="0"/>
                  </a:moveTo>
                  <a:cubicBezTo>
                    <a:pt x="0" y="0"/>
                    <a:pt x="1205" y="1412"/>
                    <a:pt x="1665" y="1668"/>
                  </a:cubicBezTo>
                  <a:cubicBezTo>
                    <a:pt x="10872" y="11675"/>
                    <a:pt x="35956" y="32990"/>
                    <a:pt x="34055" y="53605"/>
                  </a:cubicBezTo>
                  <a:cubicBezTo>
                    <a:pt x="33758" y="54868"/>
                    <a:pt x="33754" y="55430"/>
                    <a:pt x="34017" y="55430"/>
                  </a:cubicBezTo>
                  <a:cubicBezTo>
                    <a:pt x="35614" y="55430"/>
                    <a:pt x="47069" y="34640"/>
                    <a:pt x="62508" y="23984"/>
                  </a:cubicBezTo>
                  <a:lnTo>
                    <a:pt x="62508" y="23984"/>
                  </a:lnTo>
                  <a:cubicBezTo>
                    <a:pt x="53335" y="29688"/>
                    <a:pt x="46230" y="38461"/>
                    <a:pt x="39725" y="46767"/>
                  </a:cubicBezTo>
                  <a:cubicBezTo>
                    <a:pt x="38303" y="47352"/>
                    <a:pt x="35434" y="53000"/>
                    <a:pt x="34923" y="53000"/>
                  </a:cubicBezTo>
                  <a:cubicBezTo>
                    <a:pt x="34823" y="53000"/>
                    <a:pt x="34813" y="52784"/>
                    <a:pt x="34922" y="52270"/>
                  </a:cubicBezTo>
                  <a:cubicBezTo>
                    <a:pt x="36523" y="36159"/>
                    <a:pt x="17810" y="16612"/>
                    <a:pt x="1098" y="467"/>
                  </a:cubicBezTo>
                  <a:cubicBezTo>
                    <a:pt x="654" y="132"/>
                    <a:pt x="415" y="0"/>
                    <a:pt x="318" y="0"/>
                  </a:cubicBezTo>
                  <a:close/>
                </a:path>
              </a:pathLst>
            </a:custGeom>
            <a:solidFill>
              <a:srgbClr val="92806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Tree>
    <p:extLst>
      <p:ext uri="{BB962C8B-B14F-4D97-AF65-F5344CB8AC3E}">
        <p14:creationId xmlns:p14="http://schemas.microsoft.com/office/powerpoint/2010/main" val="9660312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25"/>
        <p:cNvGrpSpPr/>
        <p:nvPr/>
      </p:nvGrpSpPr>
      <p:grpSpPr>
        <a:xfrm>
          <a:off x="0" y="0"/>
          <a:ext cx="0" cy="0"/>
          <a:chOff x="0" y="0"/>
          <a:chExt cx="0" cy="0"/>
        </a:xfrm>
      </p:grpSpPr>
      <p:sp>
        <p:nvSpPr>
          <p:cNvPr id="426" name="Google Shape;426;p34"/>
          <p:cNvSpPr txBox="1">
            <a:spLocks noGrp="1"/>
          </p:cNvSpPr>
          <p:nvPr>
            <p:ph type="title" idx="2"/>
          </p:nvPr>
        </p:nvSpPr>
        <p:spPr>
          <a:xfrm>
            <a:off x="952167" y="729100"/>
            <a:ext cx="10287600" cy="487600"/>
          </a:xfrm>
          <a:prstGeom prst="rect">
            <a:avLst/>
          </a:prstGeom>
        </p:spPr>
        <p:txBody>
          <a:bodyPr spcFirstLastPara="1" wrap="square" lIns="121900" tIns="121900" rIns="121900" bIns="121900" anchor="ctr" anchorCtr="0">
            <a:noAutofit/>
          </a:bodyPr>
          <a:lstStyle/>
          <a:p>
            <a:pPr>
              <a:buClr>
                <a:schemeClr val="dk1"/>
              </a:buClr>
              <a:buSzPts val="1100"/>
            </a:pPr>
            <a:r>
              <a:rPr lang="en"/>
              <a:t>ASCC Events</a:t>
            </a:r>
            <a:endParaRPr/>
          </a:p>
        </p:txBody>
      </p:sp>
      <p:sp>
        <p:nvSpPr>
          <p:cNvPr id="427" name="Google Shape;427;p34"/>
          <p:cNvSpPr txBox="1">
            <a:spLocks noGrp="1"/>
          </p:cNvSpPr>
          <p:nvPr>
            <p:ph type="title"/>
          </p:nvPr>
        </p:nvSpPr>
        <p:spPr>
          <a:xfrm>
            <a:off x="3885100" y="2951767"/>
            <a:ext cx="5513200" cy="2813600"/>
          </a:xfrm>
          <a:prstGeom prst="rect">
            <a:avLst/>
          </a:prstGeom>
        </p:spPr>
        <p:txBody>
          <a:bodyPr spcFirstLastPara="1" wrap="square" lIns="121900" tIns="121900" rIns="121900" bIns="121900" anchor="ctr" anchorCtr="0">
            <a:noAutofit/>
          </a:bodyPr>
          <a:lstStyle/>
          <a:p>
            <a:pPr>
              <a:lnSpc>
                <a:spcPct val="150000"/>
              </a:lnSpc>
            </a:pPr>
            <a:endParaRPr sz="2000"/>
          </a:p>
          <a:p>
            <a:pPr>
              <a:lnSpc>
                <a:spcPct val="150000"/>
              </a:lnSpc>
            </a:pPr>
            <a:r>
              <a:rPr lang="en" sz="2000"/>
              <a:t>-Programming board meetings begin August 9th, 2021 </a:t>
            </a:r>
            <a:endParaRPr sz="2000"/>
          </a:p>
          <a:p>
            <a:pPr>
              <a:lnSpc>
                <a:spcPct val="150000"/>
              </a:lnSpc>
            </a:pPr>
            <a:endParaRPr sz="2000"/>
          </a:p>
        </p:txBody>
      </p:sp>
      <p:sp>
        <p:nvSpPr>
          <p:cNvPr id="428" name="Google Shape;428;p34"/>
          <p:cNvSpPr txBox="1">
            <a:spLocks noGrp="1"/>
          </p:cNvSpPr>
          <p:nvPr>
            <p:ph type="subTitle" idx="1"/>
          </p:nvPr>
        </p:nvSpPr>
        <p:spPr>
          <a:xfrm>
            <a:off x="952167" y="1292959"/>
            <a:ext cx="5067200" cy="4556015"/>
          </a:xfrm>
          <a:prstGeom prst="rect">
            <a:avLst/>
          </a:prstGeom>
        </p:spPr>
        <p:txBody>
          <a:bodyPr spcFirstLastPara="1" wrap="square" lIns="121900" tIns="121900" rIns="121900" bIns="121900" anchor="ctr" anchorCtr="0">
            <a:spAutoFit/>
          </a:bodyPr>
          <a:lstStyle/>
          <a:p>
            <a:pPr marL="0" indent="0">
              <a:lnSpc>
                <a:spcPct val="100000"/>
              </a:lnSpc>
              <a:buClr>
                <a:schemeClr val="dk1"/>
              </a:buClr>
              <a:buSzPts val="1100"/>
            </a:pPr>
            <a:r>
              <a:rPr lang="en"/>
              <a:t>Welcome &amp; Professor Connection Day*</a:t>
            </a:r>
            <a:endParaRPr/>
          </a:p>
          <a:p>
            <a:pPr marL="0" indent="0">
              <a:lnSpc>
                <a:spcPct val="100000"/>
              </a:lnSpc>
              <a:buClr>
                <a:schemeClr val="dk1"/>
              </a:buClr>
              <a:buSzPts val="1100"/>
            </a:pPr>
            <a:endParaRPr/>
          </a:p>
          <a:p>
            <a:pPr marL="0" indent="0">
              <a:lnSpc>
                <a:spcPct val="100000"/>
              </a:lnSpc>
              <a:buClr>
                <a:schemeClr val="dk1"/>
              </a:buClr>
              <a:buSzPts val="1100"/>
            </a:pPr>
            <a:r>
              <a:rPr lang="en"/>
              <a:t>Fall Club Rush*</a:t>
            </a:r>
            <a:endParaRPr/>
          </a:p>
          <a:p>
            <a:pPr marL="0" indent="0">
              <a:lnSpc>
                <a:spcPct val="100000"/>
              </a:lnSpc>
              <a:buClr>
                <a:schemeClr val="dk1"/>
              </a:buClr>
              <a:buSzPts val="1100"/>
            </a:pPr>
            <a:endParaRPr/>
          </a:p>
          <a:p>
            <a:pPr marL="0" indent="0">
              <a:lnSpc>
                <a:spcPct val="100000"/>
              </a:lnSpc>
              <a:buClr>
                <a:schemeClr val="dk1"/>
              </a:buClr>
              <a:buSzPts val="1100"/>
            </a:pPr>
            <a:r>
              <a:rPr lang="en"/>
              <a:t>Bay Area History</a:t>
            </a:r>
            <a:endParaRPr/>
          </a:p>
          <a:p>
            <a:pPr marL="0" indent="0">
              <a:lnSpc>
                <a:spcPct val="100000"/>
              </a:lnSpc>
              <a:buClr>
                <a:schemeClr val="dk1"/>
              </a:buClr>
              <a:buSzPts val="1100"/>
            </a:pPr>
            <a:endParaRPr/>
          </a:p>
          <a:p>
            <a:pPr marL="0" indent="0">
              <a:lnSpc>
                <a:spcPct val="100000"/>
              </a:lnSpc>
              <a:buClr>
                <a:schemeClr val="dk1"/>
              </a:buClr>
              <a:buSzPts val="1100"/>
            </a:pPr>
            <a:r>
              <a:rPr lang="en"/>
              <a:t>National Coming Out Day</a:t>
            </a:r>
            <a:endParaRPr/>
          </a:p>
          <a:p>
            <a:pPr marL="0" indent="0">
              <a:lnSpc>
                <a:spcPct val="100000"/>
              </a:lnSpc>
              <a:buClr>
                <a:schemeClr val="dk1"/>
              </a:buClr>
              <a:buSzPts val="1100"/>
            </a:pPr>
            <a:endParaRPr/>
          </a:p>
          <a:p>
            <a:pPr marL="0" indent="0">
              <a:lnSpc>
                <a:spcPct val="100000"/>
              </a:lnSpc>
              <a:buClr>
                <a:schemeClr val="dk1"/>
              </a:buClr>
              <a:buSzPts val="1100"/>
            </a:pPr>
            <a:r>
              <a:rPr lang="en"/>
              <a:t>Indigenous People's Day</a:t>
            </a:r>
            <a:endParaRPr/>
          </a:p>
          <a:p>
            <a:pPr marL="0" indent="0">
              <a:lnSpc>
                <a:spcPct val="100000"/>
              </a:lnSpc>
            </a:pPr>
            <a:endParaRPr/>
          </a:p>
          <a:p>
            <a:pPr marL="0" indent="0">
              <a:lnSpc>
                <a:spcPct val="100000"/>
              </a:lnSpc>
              <a:buClr>
                <a:schemeClr val="dk1"/>
              </a:buClr>
              <a:buSzPts val="1100"/>
            </a:pPr>
            <a:r>
              <a:rPr lang="en"/>
              <a:t>Campus Movie-Fest</a:t>
            </a:r>
            <a:endParaRPr/>
          </a:p>
          <a:p>
            <a:pPr marL="0" indent="0">
              <a:lnSpc>
                <a:spcPct val="100000"/>
              </a:lnSpc>
              <a:buClr>
                <a:schemeClr val="dk1"/>
              </a:buClr>
              <a:buSzPts val="1100"/>
            </a:pPr>
            <a:endParaRPr/>
          </a:p>
          <a:p>
            <a:pPr marL="0" indent="0">
              <a:lnSpc>
                <a:spcPct val="100000"/>
              </a:lnSpc>
              <a:buClr>
                <a:schemeClr val="dk1"/>
              </a:buClr>
              <a:buSzPts val="1100"/>
            </a:pPr>
            <a:r>
              <a:rPr lang="en"/>
              <a:t>Halloween Bash</a:t>
            </a:r>
            <a:endParaRPr/>
          </a:p>
          <a:p>
            <a:pPr marL="0" indent="0">
              <a:lnSpc>
                <a:spcPct val="100000"/>
              </a:lnSpc>
              <a:buClr>
                <a:schemeClr val="dk1"/>
              </a:buClr>
              <a:buSzPts val="1100"/>
            </a:pPr>
            <a:endParaRPr/>
          </a:p>
          <a:p>
            <a:pPr marL="0" indent="0">
              <a:lnSpc>
                <a:spcPct val="100000"/>
              </a:lnSpc>
              <a:buClr>
                <a:schemeClr val="dk1"/>
              </a:buClr>
              <a:buSzPts val="1100"/>
            </a:pPr>
            <a:r>
              <a:rPr lang="en"/>
              <a:t>Dia de Los Muertos</a:t>
            </a:r>
            <a:endParaRPr sz="2400"/>
          </a:p>
        </p:txBody>
      </p:sp>
      <p:grpSp>
        <p:nvGrpSpPr>
          <p:cNvPr id="429" name="Google Shape;429;p34"/>
          <p:cNvGrpSpPr/>
          <p:nvPr/>
        </p:nvGrpSpPr>
        <p:grpSpPr>
          <a:xfrm>
            <a:off x="6831965" y="364107"/>
            <a:ext cx="5220923" cy="4054139"/>
            <a:chOff x="9320475" y="1310750"/>
            <a:chExt cx="3915300" cy="3040300"/>
          </a:xfrm>
        </p:grpSpPr>
        <p:sp>
          <p:nvSpPr>
            <p:cNvPr id="430" name="Google Shape;430;p34"/>
            <p:cNvSpPr/>
            <p:nvPr/>
          </p:nvSpPr>
          <p:spPr>
            <a:xfrm>
              <a:off x="12920525" y="3408900"/>
              <a:ext cx="154325" cy="201850"/>
            </a:xfrm>
            <a:custGeom>
              <a:avLst/>
              <a:gdLst/>
              <a:ahLst/>
              <a:cxnLst/>
              <a:rect l="l" t="t" r="r" b="b"/>
              <a:pathLst>
                <a:path w="6173" h="8074" extrusionOk="0">
                  <a:moveTo>
                    <a:pt x="5939" y="1"/>
                  </a:moveTo>
                  <a:cubicBezTo>
                    <a:pt x="5772" y="34"/>
                    <a:pt x="1702" y="234"/>
                    <a:pt x="34" y="3270"/>
                  </a:cubicBezTo>
                  <a:cubicBezTo>
                    <a:pt x="1" y="3337"/>
                    <a:pt x="1" y="3403"/>
                    <a:pt x="1" y="3470"/>
                  </a:cubicBezTo>
                  <a:cubicBezTo>
                    <a:pt x="2002" y="7873"/>
                    <a:pt x="5538" y="8073"/>
                    <a:pt x="5705" y="8073"/>
                  </a:cubicBezTo>
                  <a:cubicBezTo>
                    <a:pt x="5805" y="8073"/>
                    <a:pt x="5905" y="8007"/>
                    <a:pt x="5905" y="7873"/>
                  </a:cubicBezTo>
                  <a:cubicBezTo>
                    <a:pt x="5905" y="7773"/>
                    <a:pt x="5838" y="7673"/>
                    <a:pt x="5705" y="7673"/>
                  </a:cubicBezTo>
                  <a:cubicBezTo>
                    <a:pt x="5672" y="7673"/>
                    <a:pt x="2336" y="7473"/>
                    <a:pt x="435" y="3370"/>
                  </a:cubicBezTo>
                  <a:cubicBezTo>
                    <a:pt x="2036" y="635"/>
                    <a:pt x="5939" y="435"/>
                    <a:pt x="5972" y="435"/>
                  </a:cubicBezTo>
                  <a:cubicBezTo>
                    <a:pt x="6072" y="435"/>
                    <a:pt x="6172" y="334"/>
                    <a:pt x="6172" y="201"/>
                  </a:cubicBezTo>
                  <a:cubicBezTo>
                    <a:pt x="6172" y="101"/>
                    <a:pt x="6072" y="1"/>
                    <a:pt x="5939" y="1"/>
                  </a:cubicBezTo>
                  <a:close/>
                </a:path>
              </a:pathLst>
            </a:custGeom>
            <a:solidFill>
              <a:srgbClr val="FFF8E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1" name="Google Shape;431;p34"/>
            <p:cNvSpPr/>
            <p:nvPr/>
          </p:nvSpPr>
          <p:spPr>
            <a:xfrm>
              <a:off x="9372175" y="1486700"/>
              <a:ext cx="2951300" cy="2389225"/>
            </a:xfrm>
            <a:custGeom>
              <a:avLst/>
              <a:gdLst/>
              <a:ahLst/>
              <a:cxnLst/>
              <a:rect l="l" t="t" r="r" b="b"/>
              <a:pathLst>
                <a:path w="118052" h="95569" extrusionOk="0">
                  <a:moveTo>
                    <a:pt x="16179" y="1"/>
                  </a:moveTo>
                  <a:lnTo>
                    <a:pt x="0" y="71985"/>
                  </a:lnTo>
                  <a:lnTo>
                    <a:pt x="108211" y="95569"/>
                  </a:lnTo>
                  <a:lnTo>
                    <a:pt x="118051" y="22483"/>
                  </a:lnTo>
                  <a:lnTo>
                    <a:pt x="16179"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2" name="Google Shape;432;p34"/>
            <p:cNvSpPr/>
            <p:nvPr/>
          </p:nvSpPr>
          <p:spPr>
            <a:xfrm>
              <a:off x="9346325" y="1336600"/>
              <a:ext cx="1742925" cy="2149050"/>
            </a:xfrm>
            <a:custGeom>
              <a:avLst/>
              <a:gdLst/>
              <a:ahLst/>
              <a:cxnLst/>
              <a:rect l="l" t="t" r="r" b="b"/>
              <a:pathLst>
                <a:path w="69717" h="85962" extrusionOk="0">
                  <a:moveTo>
                    <a:pt x="16479" y="0"/>
                  </a:moveTo>
                  <a:lnTo>
                    <a:pt x="0" y="74120"/>
                  </a:lnTo>
                  <a:lnTo>
                    <a:pt x="53238" y="85962"/>
                  </a:lnTo>
                  <a:lnTo>
                    <a:pt x="69717" y="11842"/>
                  </a:lnTo>
                  <a:lnTo>
                    <a:pt x="16479" y="0"/>
                  </a:ln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3" name="Google Shape;433;p34"/>
            <p:cNvSpPr/>
            <p:nvPr/>
          </p:nvSpPr>
          <p:spPr>
            <a:xfrm>
              <a:off x="10677275" y="1631800"/>
              <a:ext cx="1742925" cy="2149075"/>
            </a:xfrm>
            <a:custGeom>
              <a:avLst/>
              <a:gdLst/>
              <a:ahLst/>
              <a:cxnLst/>
              <a:rect l="l" t="t" r="r" b="b"/>
              <a:pathLst>
                <a:path w="69717" h="85963" extrusionOk="0">
                  <a:moveTo>
                    <a:pt x="16445" y="1"/>
                  </a:moveTo>
                  <a:lnTo>
                    <a:pt x="0" y="74154"/>
                  </a:lnTo>
                  <a:lnTo>
                    <a:pt x="53238" y="85962"/>
                  </a:lnTo>
                  <a:lnTo>
                    <a:pt x="69717" y="11842"/>
                  </a:lnTo>
                  <a:lnTo>
                    <a:pt x="16445" y="1"/>
                  </a:ln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4" name="Google Shape;434;p34"/>
            <p:cNvSpPr/>
            <p:nvPr/>
          </p:nvSpPr>
          <p:spPr>
            <a:xfrm>
              <a:off x="9691575" y="1310750"/>
              <a:ext cx="281050" cy="230175"/>
            </a:xfrm>
            <a:custGeom>
              <a:avLst/>
              <a:gdLst/>
              <a:ahLst/>
              <a:cxnLst/>
              <a:rect l="l" t="t" r="r" b="b"/>
              <a:pathLst>
                <a:path w="11242" h="9207" extrusionOk="0">
                  <a:moveTo>
                    <a:pt x="2035" y="0"/>
                  </a:moveTo>
                  <a:lnTo>
                    <a:pt x="0" y="9207"/>
                  </a:lnTo>
                  <a:lnTo>
                    <a:pt x="11241" y="2035"/>
                  </a:lnTo>
                  <a:lnTo>
                    <a:pt x="2035" y="0"/>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5" name="Google Shape;435;p34"/>
            <p:cNvSpPr/>
            <p:nvPr/>
          </p:nvSpPr>
          <p:spPr>
            <a:xfrm>
              <a:off x="12215025" y="1859475"/>
              <a:ext cx="231025" cy="281875"/>
            </a:xfrm>
            <a:custGeom>
              <a:avLst/>
              <a:gdLst/>
              <a:ahLst/>
              <a:cxnLst/>
              <a:rect l="l" t="t" r="r" b="b"/>
              <a:pathLst>
                <a:path w="9241" h="11275" extrusionOk="0">
                  <a:moveTo>
                    <a:pt x="1" y="0"/>
                  </a:moveTo>
                  <a:lnTo>
                    <a:pt x="7173" y="11275"/>
                  </a:lnTo>
                  <a:lnTo>
                    <a:pt x="9241" y="2068"/>
                  </a:lnTo>
                  <a:lnTo>
                    <a:pt x="1" y="0"/>
                  </a:lnTo>
                  <a:close/>
                </a:path>
              </a:pathLst>
            </a:custGeom>
            <a:solidFill>
              <a:srgbClr val="FFD97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6" name="Google Shape;436;p34"/>
            <p:cNvSpPr/>
            <p:nvPr/>
          </p:nvSpPr>
          <p:spPr>
            <a:xfrm>
              <a:off x="9320475" y="2979425"/>
              <a:ext cx="230175" cy="281900"/>
            </a:xfrm>
            <a:custGeom>
              <a:avLst/>
              <a:gdLst/>
              <a:ahLst/>
              <a:cxnLst/>
              <a:rect l="l" t="t" r="r" b="b"/>
              <a:pathLst>
                <a:path w="9207" h="11276" extrusionOk="0">
                  <a:moveTo>
                    <a:pt x="2035" y="1"/>
                  </a:moveTo>
                  <a:lnTo>
                    <a:pt x="0" y="9208"/>
                  </a:lnTo>
                  <a:lnTo>
                    <a:pt x="9207" y="11276"/>
                  </a:lnTo>
                  <a:lnTo>
                    <a:pt x="2035"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7" name="Google Shape;437;p34"/>
            <p:cNvSpPr/>
            <p:nvPr/>
          </p:nvSpPr>
          <p:spPr>
            <a:xfrm>
              <a:off x="11793900" y="3579875"/>
              <a:ext cx="281050" cy="230175"/>
            </a:xfrm>
            <a:custGeom>
              <a:avLst/>
              <a:gdLst/>
              <a:ahLst/>
              <a:cxnLst/>
              <a:rect l="l" t="t" r="r" b="b"/>
              <a:pathLst>
                <a:path w="11242" h="9207" extrusionOk="0">
                  <a:moveTo>
                    <a:pt x="11242" y="0"/>
                  </a:moveTo>
                  <a:lnTo>
                    <a:pt x="0" y="7172"/>
                  </a:lnTo>
                  <a:lnTo>
                    <a:pt x="9207" y="9207"/>
                  </a:lnTo>
                  <a:lnTo>
                    <a:pt x="11242" y="0"/>
                  </a:lnTo>
                  <a:close/>
                </a:path>
              </a:pathLst>
            </a:custGeom>
            <a:solidFill>
              <a:srgbClr val="FFD97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8" name="Google Shape;438;p34"/>
            <p:cNvSpPr/>
            <p:nvPr/>
          </p:nvSpPr>
          <p:spPr>
            <a:xfrm>
              <a:off x="10538825" y="1600950"/>
              <a:ext cx="683025" cy="1913900"/>
            </a:xfrm>
            <a:custGeom>
              <a:avLst/>
              <a:gdLst/>
              <a:ahLst/>
              <a:cxnLst/>
              <a:rect l="l" t="t" r="r" b="b"/>
              <a:pathLst>
                <a:path w="27321" h="76556" extrusionOk="0">
                  <a:moveTo>
                    <a:pt x="16446" y="0"/>
                  </a:moveTo>
                  <a:lnTo>
                    <a:pt x="1" y="74154"/>
                  </a:lnTo>
                  <a:lnTo>
                    <a:pt x="10875" y="76555"/>
                  </a:lnTo>
                  <a:lnTo>
                    <a:pt x="27320" y="2436"/>
                  </a:lnTo>
                  <a:lnTo>
                    <a:pt x="16446" y="0"/>
                  </a:ln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9" name="Google Shape;439;p34"/>
            <p:cNvSpPr/>
            <p:nvPr/>
          </p:nvSpPr>
          <p:spPr>
            <a:xfrm>
              <a:off x="10666425" y="1620125"/>
              <a:ext cx="1657050" cy="2062350"/>
            </a:xfrm>
            <a:custGeom>
              <a:avLst/>
              <a:gdLst/>
              <a:ahLst/>
              <a:cxnLst/>
              <a:rect l="l" t="t" r="r" b="b"/>
              <a:pathLst>
                <a:path w="66282" h="82494" extrusionOk="0">
                  <a:moveTo>
                    <a:pt x="24896" y="0"/>
                  </a:moveTo>
                  <a:cubicBezTo>
                    <a:pt x="21245" y="0"/>
                    <a:pt x="18241" y="805"/>
                    <a:pt x="16412" y="2803"/>
                  </a:cubicBezTo>
                  <a:lnTo>
                    <a:pt x="1135" y="71519"/>
                  </a:lnTo>
                  <a:cubicBezTo>
                    <a:pt x="1" y="76622"/>
                    <a:pt x="51037" y="82493"/>
                    <a:pt x="51037" y="82493"/>
                  </a:cubicBezTo>
                  <a:lnTo>
                    <a:pt x="66281" y="13811"/>
                  </a:lnTo>
                  <a:cubicBezTo>
                    <a:pt x="66281" y="13811"/>
                    <a:pt x="40025" y="0"/>
                    <a:pt x="24896" y="0"/>
                  </a:cubicBezTo>
                  <a:close/>
                </a:path>
              </a:pathLst>
            </a:custGeom>
            <a:solidFill>
              <a:srgbClr val="FFF8ED"/>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0" name="Google Shape;440;p34"/>
            <p:cNvSpPr/>
            <p:nvPr/>
          </p:nvSpPr>
          <p:spPr>
            <a:xfrm>
              <a:off x="9453900" y="1424900"/>
              <a:ext cx="1622850" cy="2004250"/>
            </a:xfrm>
            <a:custGeom>
              <a:avLst/>
              <a:gdLst/>
              <a:ahLst/>
              <a:cxnLst/>
              <a:rect l="l" t="t" r="r" b="b"/>
              <a:pathLst>
                <a:path w="64914" h="80170" extrusionOk="0">
                  <a:moveTo>
                    <a:pt x="18851" y="1"/>
                  </a:moveTo>
                  <a:cubicBezTo>
                    <a:pt x="16595" y="1"/>
                    <a:pt x="15245" y="37"/>
                    <a:pt x="15245" y="37"/>
                  </a:cubicBezTo>
                  <a:lnTo>
                    <a:pt x="0" y="68687"/>
                  </a:lnTo>
                  <a:cubicBezTo>
                    <a:pt x="0" y="68687"/>
                    <a:pt x="34679" y="80170"/>
                    <a:pt x="46231" y="80170"/>
                  </a:cubicBezTo>
                  <a:cubicBezTo>
                    <a:pt x="47886" y="80170"/>
                    <a:pt x="49067" y="79934"/>
                    <a:pt x="49602" y="79394"/>
                  </a:cubicBezTo>
                  <a:lnTo>
                    <a:pt x="64913" y="10612"/>
                  </a:lnTo>
                  <a:cubicBezTo>
                    <a:pt x="61189" y="845"/>
                    <a:pt x="29647" y="1"/>
                    <a:pt x="1885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1" name="Google Shape;441;p34"/>
            <p:cNvSpPr/>
            <p:nvPr/>
          </p:nvSpPr>
          <p:spPr>
            <a:xfrm>
              <a:off x="9868350" y="1605800"/>
              <a:ext cx="390300" cy="363775"/>
            </a:xfrm>
            <a:custGeom>
              <a:avLst/>
              <a:gdLst/>
              <a:ahLst/>
              <a:cxnLst/>
              <a:rect l="l" t="t" r="r" b="b"/>
              <a:pathLst>
                <a:path w="15612" h="14551" extrusionOk="0">
                  <a:moveTo>
                    <a:pt x="3337" y="407"/>
                  </a:moveTo>
                  <a:lnTo>
                    <a:pt x="15145" y="807"/>
                  </a:lnTo>
                  <a:lnTo>
                    <a:pt x="12210" y="14117"/>
                  </a:lnTo>
                  <a:lnTo>
                    <a:pt x="468" y="13316"/>
                  </a:lnTo>
                  <a:lnTo>
                    <a:pt x="3337" y="407"/>
                  </a:lnTo>
                  <a:close/>
                  <a:moveTo>
                    <a:pt x="3120" y="0"/>
                  </a:moveTo>
                  <a:cubicBezTo>
                    <a:pt x="3019" y="0"/>
                    <a:pt x="2965" y="87"/>
                    <a:pt x="2936" y="173"/>
                  </a:cubicBezTo>
                  <a:lnTo>
                    <a:pt x="1" y="13450"/>
                  </a:lnTo>
                  <a:cubicBezTo>
                    <a:pt x="1" y="13516"/>
                    <a:pt x="1" y="13583"/>
                    <a:pt x="34" y="13616"/>
                  </a:cubicBezTo>
                  <a:cubicBezTo>
                    <a:pt x="68" y="13683"/>
                    <a:pt x="134" y="13683"/>
                    <a:pt x="201" y="13716"/>
                  </a:cubicBezTo>
                  <a:lnTo>
                    <a:pt x="12343" y="14550"/>
                  </a:lnTo>
                  <a:cubicBezTo>
                    <a:pt x="12443" y="14550"/>
                    <a:pt x="12543" y="14484"/>
                    <a:pt x="12543" y="14384"/>
                  </a:cubicBezTo>
                  <a:lnTo>
                    <a:pt x="15612" y="640"/>
                  </a:lnTo>
                  <a:cubicBezTo>
                    <a:pt x="15612" y="607"/>
                    <a:pt x="15612" y="540"/>
                    <a:pt x="15579" y="474"/>
                  </a:cubicBezTo>
                  <a:cubicBezTo>
                    <a:pt x="15512" y="440"/>
                    <a:pt x="15479" y="407"/>
                    <a:pt x="15412" y="407"/>
                  </a:cubicBezTo>
                  <a:lnTo>
                    <a:pt x="3170" y="7"/>
                  </a:lnTo>
                  <a:cubicBezTo>
                    <a:pt x="3152" y="2"/>
                    <a:pt x="3135" y="0"/>
                    <a:pt x="3120"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2" name="Google Shape;442;p34"/>
            <p:cNvSpPr/>
            <p:nvPr/>
          </p:nvSpPr>
          <p:spPr>
            <a:xfrm>
              <a:off x="9849175" y="2025425"/>
              <a:ext cx="973225" cy="184325"/>
            </a:xfrm>
            <a:custGeom>
              <a:avLst/>
              <a:gdLst/>
              <a:ahLst/>
              <a:cxnLst/>
              <a:rect l="l" t="t" r="r" b="b"/>
              <a:pathLst>
                <a:path w="38929" h="7373" extrusionOk="0">
                  <a:moveTo>
                    <a:pt x="201" y="0"/>
                  </a:moveTo>
                  <a:cubicBezTo>
                    <a:pt x="67" y="0"/>
                    <a:pt x="1" y="100"/>
                    <a:pt x="1" y="200"/>
                  </a:cubicBezTo>
                  <a:cubicBezTo>
                    <a:pt x="1" y="334"/>
                    <a:pt x="67" y="401"/>
                    <a:pt x="201" y="434"/>
                  </a:cubicBezTo>
                  <a:cubicBezTo>
                    <a:pt x="468" y="434"/>
                    <a:pt x="26386" y="1168"/>
                    <a:pt x="38595" y="7372"/>
                  </a:cubicBezTo>
                  <a:lnTo>
                    <a:pt x="38695" y="7372"/>
                  </a:lnTo>
                  <a:cubicBezTo>
                    <a:pt x="38762" y="7372"/>
                    <a:pt x="38828" y="7339"/>
                    <a:pt x="38862" y="7272"/>
                  </a:cubicBezTo>
                  <a:cubicBezTo>
                    <a:pt x="38928" y="7172"/>
                    <a:pt x="38862" y="7039"/>
                    <a:pt x="38762" y="7005"/>
                  </a:cubicBezTo>
                  <a:cubicBezTo>
                    <a:pt x="26486" y="768"/>
                    <a:pt x="468" y="0"/>
                    <a:pt x="201"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3" name="Google Shape;443;p34"/>
            <p:cNvSpPr/>
            <p:nvPr/>
          </p:nvSpPr>
          <p:spPr>
            <a:xfrm>
              <a:off x="9829175" y="2112975"/>
              <a:ext cx="973200" cy="184325"/>
            </a:xfrm>
            <a:custGeom>
              <a:avLst/>
              <a:gdLst/>
              <a:ahLst/>
              <a:cxnLst/>
              <a:rect l="l" t="t" r="r" b="b"/>
              <a:pathLst>
                <a:path w="38928" h="7373" extrusionOk="0">
                  <a:moveTo>
                    <a:pt x="234" y="1"/>
                  </a:moveTo>
                  <a:cubicBezTo>
                    <a:pt x="100" y="1"/>
                    <a:pt x="33" y="101"/>
                    <a:pt x="0" y="201"/>
                  </a:cubicBezTo>
                  <a:cubicBezTo>
                    <a:pt x="0" y="334"/>
                    <a:pt x="100" y="401"/>
                    <a:pt x="234" y="434"/>
                  </a:cubicBezTo>
                  <a:cubicBezTo>
                    <a:pt x="467" y="434"/>
                    <a:pt x="26419" y="1168"/>
                    <a:pt x="38594" y="7373"/>
                  </a:cubicBezTo>
                  <a:lnTo>
                    <a:pt x="38694" y="7373"/>
                  </a:lnTo>
                  <a:cubicBezTo>
                    <a:pt x="38761" y="7373"/>
                    <a:pt x="38861" y="7339"/>
                    <a:pt x="38894" y="7273"/>
                  </a:cubicBezTo>
                  <a:cubicBezTo>
                    <a:pt x="38928" y="7173"/>
                    <a:pt x="38894" y="7039"/>
                    <a:pt x="38794" y="7006"/>
                  </a:cubicBezTo>
                  <a:cubicBezTo>
                    <a:pt x="26519" y="768"/>
                    <a:pt x="500" y="1"/>
                    <a:pt x="234"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4" name="Google Shape;444;p34"/>
            <p:cNvSpPr/>
            <p:nvPr/>
          </p:nvSpPr>
          <p:spPr>
            <a:xfrm>
              <a:off x="9809975" y="2200550"/>
              <a:ext cx="973225" cy="184325"/>
            </a:xfrm>
            <a:custGeom>
              <a:avLst/>
              <a:gdLst/>
              <a:ahLst/>
              <a:cxnLst/>
              <a:rect l="l" t="t" r="r" b="b"/>
              <a:pathLst>
                <a:path w="38929" h="7373" extrusionOk="0">
                  <a:moveTo>
                    <a:pt x="234" y="0"/>
                  </a:moveTo>
                  <a:cubicBezTo>
                    <a:pt x="101" y="0"/>
                    <a:pt x="1" y="100"/>
                    <a:pt x="1" y="200"/>
                  </a:cubicBezTo>
                  <a:cubicBezTo>
                    <a:pt x="1" y="334"/>
                    <a:pt x="101" y="401"/>
                    <a:pt x="201" y="434"/>
                  </a:cubicBezTo>
                  <a:cubicBezTo>
                    <a:pt x="468" y="434"/>
                    <a:pt x="26386" y="1168"/>
                    <a:pt x="38595" y="7372"/>
                  </a:cubicBezTo>
                  <a:lnTo>
                    <a:pt x="38695" y="7372"/>
                  </a:lnTo>
                  <a:cubicBezTo>
                    <a:pt x="38762" y="7372"/>
                    <a:pt x="38829" y="7339"/>
                    <a:pt x="38862" y="7272"/>
                  </a:cubicBezTo>
                  <a:cubicBezTo>
                    <a:pt x="38929" y="7172"/>
                    <a:pt x="38895" y="7039"/>
                    <a:pt x="38795" y="7005"/>
                  </a:cubicBezTo>
                  <a:cubicBezTo>
                    <a:pt x="26520" y="768"/>
                    <a:pt x="468" y="0"/>
                    <a:pt x="234"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5" name="Google Shape;445;p34"/>
            <p:cNvSpPr/>
            <p:nvPr/>
          </p:nvSpPr>
          <p:spPr>
            <a:xfrm>
              <a:off x="9790800" y="2288100"/>
              <a:ext cx="973225" cy="184325"/>
            </a:xfrm>
            <a:custGeom>
              <a:avLst/>
              <a:gdLst/>
              <a:ahLst/>
              <a:cxnLst/>
              <a:rect l="l" t="t" r="r" b="b"/>
              <a:pathLst>
                <a:path w="38929" h="7373" extrusionOk="0">
                  <a:moveTo>
                    <a:pt x="234" y="1"/>
                  </a:moveTo>
                  <a:cubicBezTo>
                    <a:pt x="101" y="1"/>
                    <a:pt x="1" y="68"/>
                    <a:pt x="1" y="201"/>
                  </a:cubicBezTo>
                  <a:cubicBezTo>
                    <a:pt x="1" y="301"/>
                    <a:pt x="67" y="401"/>
                    <a:pt x="201" y="434"/>
                  </a:cubicBezTo>
                  <a:cubicBezTo>
                    <a:pt x="468" y="434"/>
                    <a:pt x="26486" y="1969"/>
                    <a:pt x="38595" y="7373"/>
                  </a:cubicBezTo>
                  <a:lnTo>
                    <a:pt x="38695" y="7373"/>
                  </a:lnTo>
                  <a:cubicBezTo>
                    <a:pt x="38762" y="7373"/>
                    <a:pt x="38828" y="7339"/>
                    <a:pt x="38862" y="7273"/>
                  </a:cubicBezTo>
                  <a:cubicBezTo>
                    <a:pt x="38928" y="7173"/>
                    <a:pt x="38862" y="7039"/>
                    <a:pt x="38762" y="7006"/>
                  </a:cubicBezTo>
                  <a:cubicBezTo>
                    <a:pt x="26586" y="1535"/>
                    <a:pt x="468" y="34"/>
                    <a:pt x="234"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6" name="Google Shape;446;p34"/>
            <p:cNvSpPr/>
            <p:nvPr/>
          </p:nvSpPr>
          <p:spPr>
            <a:xfrm>
              <a:off x="9770800" y="2375675"/>
              <a:ext cx="973200" cy="184325"/>
            </a:xfrm>
            <a:custGeom>
              <a:avLst/>
              <a:gdLst/>
              <a:ahLst/>
              <a:cxnLst/>
              <a:rect l="l" t="t" r="r" b="b"/>
              <a:pathLst>
                <a:path w="38928" h="7373" extrusionOk="0">
                  <a:moveTo>
                    <a:pt x="234" y="0"/>
                  </a:moveTo>
                  <a:cubicBezTo>
                    <a:pt x="133" y="0"/>
                    <a:pt x="33" y="67"/>
                    <a:pt x="33" y="200"/>
                  </a:cubicBezTo>
                  <a:cubicBezTo>
                    <a:pt x="0" y="301"/>
                    <a:pt x="100" y="401"/>
                    <a:pt x="200" y="434"/>
                  </a:cubicBezTo>
                  <a:cubicBezTo>
                    <a:pt x="467" y="434"/>
                    <a:pt x="26719" y="2135"/>
                    <a:pt x="38628" y="7372"/>
                  </a:cubicBezTo>
                  <a:lnTo>
                    <a:pt x="38694" y="7372"/>
                  </a:lnTo>
                  <a:cubicBezTo>
                    <a:pt x="38794" y="7372"/>
                    <a:pt x="38861" y="7339"/>
                    <a:pt x="38894" y="7272"/>
                  </a:cubicBezTo>
                  <a:cubicBezTo>
                    <a:pt x="38928" y="7172"/>
                    <a:pt x="38894" y="7039"/>
                    <a:pt x="38794" y="6972"/>
                  </a:cubicBezTo>
                  <a:cubicBezTo>
                    <a:pt x="26819" y="1702"/>
                    <a:pt x="500" y="34"/>
                    <a:pt x="234"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7" name="Google Shape;447;p34"/>
            <p:cNvSpPr/>
            <p:nvPr/>
          </p:nvSpPr>
          <p:spPr>
            <a:xfrm>
              <a:off x="9751600" y="2463225"/>
              <a:ext cx="973225" cy="184325"/>
            </a:xfrm>
            <a:custGeom>
              <a:avLst/>
              <a:gdLst/>
              <a:ahLst/>
              <a:cxnLst/>
              <a:rect l="l" t="t" r="r" b="b"/>
              <a:pathLst>
                <a:path w="38929" h="7373" extrusionOk="0">
                  <a:moveTo>
                    <a:pt x="234" y="1"/>
                  </a:moveTo>
                  <a:cubicBezTo>
                    <a:pt x="134" y="1"/>
                    <a:pt x="34" y="68"/>
                    <a:pt x="1" y="201"/>
                  </a:cubicBezTo>
                  <a:cubicBezTo>
                    <a:pt x="1" y="301"/>
                    <a:pt x="101" y="401"/>
                    <a:pt x="201" y="401"/>
                  </a:cubicBezTo>
                  <a:cubicBezTo>
                    <a:pt x="468" y="434"/>
                    <a:pt x="26119" y="2536"/>
                    <a:pt x="38628" y="7373"/>
                  </a:cubicBezTo>
                  <a:lnTo>
                    <a:pt x="38695" y="7373"/>
                  </a:lnTo>
                  <a:cubicBezTo>
                    <a:pt x="38762" y="7373"/>
                    <a:pt x="38862" y="7339"/>
                    <a:pt x="38895" y="7239"/>
                  </a:cubicBezTo>
                  <a:cubicBezTo>
                    <a:pt x="38929" y="7139"/>
                    <a:pt x="38895" y="7039"/>
                    <a:pt x="38762" y="6972"/>
                  </a:cubicBezTo>
                  <a:cubicBezTo>
                    <a:pt x="26186" y="2102"/>
                    <a:pt x="501" y="34"/>
                    <a:pt x="234"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8" name="Google Shape;448;p34"/>
            <p:cNvSpPr/>
            <p:nvPr/>
          </p:nvSpPr>
          <p:spPr>
            <a:xfrm>
              <a:off x="9732425" y="2550800"/>
              <a:ext cx="973225" cy="184325"/>
            </a:xfrm>
            <a:custGeom>
              <a:avLst/>
              <a:gdLst/>
              <a:ahLst/>
              <a:cxnLst/>
              <a:rect l="l" t="t" r="r" b="b"/>
              <a:pathLst>
                <a:path w="38929" h="7373" extrusionOk="0">
                  <a:moveTo>
                    <a:pt x="234" y="0"/>
                  </a:moveTo>
                  <a:cubicBezTo>
                    <a:pt x="101" y="0"/>
                    <a:pt x="1" y="67"/>
                    <a:pt x="1" y="167"/>
                  </a:cubicBezTo>
                  <a:cubicBezTo>
                    <a:pt x="1" y="301"/>
                    <a:pt x="67" y="401"/>
                    <a:pt x="167" y="401"/>
                  </a:cubicBezTo>
                  <a:cubicBezTo>
                    <a:pt x="434" y="434"/>
                    <a:pt x="26286" y="3469"/>
                    <a:pt x="38628" y="7372"/>
                  </a:cubicBezTo>
                  <a:lnTo>
                    <a:pt x="38695" y="7372"/>
                  </a:lnTo>
                  <a:cubicBezTo>
                    <a:pt x="38762" y="7372"/>
                    <a:pt x="38862" y="7339"/>
                    <a:pt x="38895" y="7239"/>
                  </a:cubicBezTo>
                  <a:cubicBezTo>
                    <a:pt x="38928" y="7139"/>
                    <a:pt x="38862" y="7005"/>
                    <a:pt x="38762" y="6972"/>
                  </a:cubicBezTo>
                  <a:cubicBezTo>
                    <a:pt x="26353" y="3069"/>
                    <a:pt x="501" y="34"/>
                    <a:pt x="234"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9" name="Google Shape;449;p34"/>
            <p:cNvSpPr/>
            <p:nvPr/>
          </p:nvSpPr>
          <p:spPr>
            <a:xfrm>
              <a:off x="9712425" y="2638200"/>
              <a:ext cx="973200" cy="184475"/>
            </a:xfrm>
            <a:custGeom>
              <a:avLst/>
              <a:gdLst/>
              <a:ahLst/>
              <a:cxnLst/>
              <a:rect l="l" t="t" r="r" b="b"/>
              <a:pathLst>
                <a:path w="38928" h="7379" extrusionOk="0">
                  <a:moveTo>
                    <a:pt x="215" y="0"/>
                  </a:moveTo>
                  <a:cubicBezTo>
                    <a:pt x="108" y="0"/>
                    <a:pt x="33" y="87"/>
                    <a:pt x="33" y="174"/>
                  </a:cubicBezTo>
                  <a:cubicBezTo>
                    <a:pt x="0" y="307"/>
                    <a:pt x="100" y="407"/>
                    <a:pt x="200" y="407"/>
                  </a:cubicBezTo>
                  <a:cubicBezTo>
                    <a:pt x="467" y="440"/>
                    <a:pt x="25818" y="3876"/>
                    <a:pt x="38661" y="7379"/>
                  </a:cubicBezTo>
                  <a:lnTo>
                    <a:pt x="38694" y="7379"/>
                  </a:lnTo>
                  <a:cubicBezTo>
                    <a:pt x="38794" y="7379"/>
                    <a:pt x="38894" y="7312"/>
                    <a:pt x="38894" y="7245"/>
                  </a:cubicBezTo>
                  <a:cubicBezTo>
                    <a:pt x="38928" y="7112"/>
                    <a:pt x="38861" y="7012"/>
                    <a:pt x="38761" y="6979"/>
                  </a:cubicBezTo>
                  <a:cubicBezTo>
                    <a:pt x="25919" y="3476"/>
                    <a:pt x="500" y="40"/>
                    <a:pt x="267" y="7"/>
                  </a:cubicBezTo>
                  <a:cubicBezTo>
                    <a:pt x="249" y="2"/>
                    <a:pt x="232" y="0"/>
                    <a:pt x="215"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0" name="Google Shape;450;p34"/>
            <p:cNvSpPr/>
            <p:nvPr/>
          </p:nvSpPr>
          <p:spPr>
            <a:xfrm>
              <a:off x="9693225" y="2725975"/>
              <a:ext cx="973225" cy="184275"/>
            </a:xfrm>
            <a:custGeom>
              <a:avLst/>
              <a:gdLst/>
              <a:ahLst/>
              <a:cxnLst/>
              <a:rect l="l" t="t" r="r" b="b"/>
              <a:pathLst>
                <a:path w="38929" h="7371" extrusionOk="0">
                  <a:moveTo>
                    <a:pt x="317" y="1"/>
                  </a:moveTo>
                  <a:cubicBezTo>
                    <a:pt x="178" y="1"/>
                    <a:pt x="93" y="11"/>
                    <a:pt x="68" y="32"/>
                  </a:cubicBezTo>
                  <a:cubicBezTo>
                    <a:pt x="34" y="98"/>
                    <a:pt x="1" y="165"/>
                    <a:pt x="1" y="232"/>
                  </a:cubicBezTo>
                  <a:cubicBezTo>
                    <a:pt x="30" y="319"/>
                    <a:pt x="109" y="405"/>
                    <a:pt x="216" y="405"/>
                  </a:cubicBezTo>
                  <a:cubicBezTo>
                    <a:pt x="233" y="405"/>
                    <a:pt x="250" y="403"/>
                    <a:pt x="268" y="399"/>
                  </a:cubicBezTo>
                  <a:lnTo>
                    <a:pt x="301" y="399"/>
                  </a:lnTo>
                  <a:cubicBezTo>
                    <a:pt x="313" y="398"/>
                    <a:pt x="326" y="398"/>
                    <a:pt x="341" y="398"/>
                  </a:cubicBezTo>
                  <a:cubicBezTo>
                    <a:pt x="2035" y="398"/>
                    <a:pt x="26098" y="4064"/>
                    <a:pt x="38628" y="7370"/>
                  </a:cubicBezTo>
                  <a:lnTo>
                    <a:pt x="38695" y="7370"/>
                  </a:lnTo>
                  <a:cubicBezTo>
                    <a:pt x="38795" y="7370"/>
                    <a:pt x="38862" y="7304"/>
                    <a:pt x="38895" y="7237"/>
                  </a:cubicBezTo>
                  <a:cubicBezTo>
                    <a:pt x="38929" y="7103"/>
                    <a:pt x="38862" y="7003"/>
                    <a:pt x="38762" y="6970"/>
                  </a:cubicBezTo>
                  <a:cubicBezTo>
                    <a:pt x="27455" y="3984"/>
                    <a:pt x="3083" y="1"/>
                    <a:pt x="317"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1" name="Google Shape;451;p34"/>
            <p:cNvSpPr/>
            <p:nvPr/>
          </p:nvSpPr>
          <p:spPr>
            <a:xfrm>
              <a:off x="9673225" y="2813325"/>
              <a:ext cx="969050" cy="205325"/>
            </a:xfrm>
            <a:custGeom>
              <a:avLst/>
              <a:gdLst/>
              <a:ahLst/>
              <a:cxnLst/>
              <a:rect l="l" t="t" r="r" b="b"/>
              <a:pathLst>
                <a:path w="38762" h="8213" extrusionOk="0">
                  <a:moveTo>
                    <a:pt x="227" y="0"/>
                  </a:moveTo>
                  <a:cubicBezTo>
                    <a:pt x="141" y="0"/>
                    <a:pt x="62" y="87"/>
                    <a:pt x="34" y="174"/>
                  </a:cubicBezTo>
                  <a:cubicBezTo>
                    <a:pt x="0" y="274"/>
                    <a:pt x="100" y="407"/>
                    <a:pt x="200" y="407"/>
                  </a:cubicBezTo>
                  <a:cubicBezTo>
                    <a:pt x="434" y="474"/>
                    <a:pt x="24584" y="4777"/>
                    <a:pt x="38494" y="8213"/>
                  </a:cubicBezTo>
                  <a:lnTo>
                    <a:pt x="38528" y="8213"/>
                  </a:lnTo>
                  <a:cubicBezTo>
                    <a:pt x="38628" y="8213"/>
                    <a:pt x="38728" y="8146"/>
                    <a:pt x="38728" y="8046"/>
                  </a:cubicBezTo>
                  <a:cubicBezTo>
                    <a:pt x="38761" y="7946"/>
                    <a:pt x="38695" y="7812"/>
                    <a:pt x="38594" y="7779"/>
                  </a:cubicBezTo>
                  <a:cubicBezTo>
                    <a:pt x="24685" y="4377"/>
                    <a:pt x="534" y="40"/>
                    <a:pt x="267" y="7"/>
                  </a:cubicBezTo>
                  <a:cubicBezTo>
                    <a:pt x="254" y="2"/>
                    <a:pt x="240" y="0"/>
                    <a:pt x="227"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2" name="Google Shape;452;p34"/>
            <p:cNvSpPr/>
            <p:nvPr/>
          </p:nvSpPr>
          <p:spPr>
            <a:xfrm>
              <a:off x="9654050" y="2900825"/>
              <a:ext cx="964025" cy="225400"/>
            </a:xfrm>
            <a:custGeom>
              <a:avLst/>
              <a:gdLst/>
              <a:ahLst/>
              <a:cxnLst/>
              <a:rect l="l" t="t" r="r" b="b"/>
              <a:pathLst>
                <a:path w="38561" h="9016" extrusionOk="0">
                  <a:moveTo>
                    <a:pt x="216" y="1"/>
                  </a:moveTo>
                  <a:cubicBezTo>
                    <a:pt x="134" y="1"/>
                    <a:pt x="61" y="66"/>
                    <a:pt x="33" y="176"/>
                  </a:cubicBezTo>
                  <a:cubicBezTo>
                    <a:pt x="0" y="276"/>
                    <a:pt x="67" y="376"/>
                    <a:pt x="200" y="410"/>
                  </a:cubicBezTo>
                  <a:cubicBezTo>
                    <a:pt x="434" y="476"/>
                    <a:pt x="23950" y="5814"/>
                    <a:pt x="38294" y="9016"/>
                  </a:cubicBezTo>
                  <a:lnTo>
                    <a:pt x="38361" y="9016"/>
                  </a:lnTo>
                  <a:cubicBezTo>
                    <a:pt x="38427" y="9016"/>
                    <a:pt x="38528" y="8949"/>
                    <a:pt x="38561" y="8849"/>
                  </a:cubicBezTo>
                  <a:cubicBezTo>
                    <a:pt x="38561" y="8749"/>
                    <a:pt x="38494" y="8616"/>
                    <a:pt x="38394" y="8616"/>
                  </a:cubicBezTo>
                  <a:cubicBezTo>
                    <a:pt x="24051" y="5413"/>
                    <a:pt x="500" y="76"/>
                    <a:pt x="267" y="9"/>
                  </a:cubicBezTo>
                  <a:cubicBezTo>
                    <a:pt x="250" y="4"/>
                    <a:pt x="233" y="1"/>
                    <a:pt x="216"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3" name="Google Shape;453;p34"/>
            <p:cNvSpPr/>
            <p:nvPr/>
          </p:nvSpPr>
          <p:spPr>
            <a:xfrm>
              <a:off x="9634850" y="2988400"/>
              <a:ext cx="961550" cy="235400"/>
            </a:xfrm>
            <a:custGeom>
              <a:avLst/>
              <a:gdLst/>
              <a:ahLst/>
              <a:cxnLst/>
              <a:rect l="l" t="t" r="r" b="b"/>
              <a:pathLst>
                <a:path w="38462" h="9416" extrusionOk="0">
                  <a:moveTo>
                    <a:pt x="215" y="0"/>
                  </a:moveTo>
                  <a:cubicBezTo>
                    <a:pt x="134" y="0"/>
                    <a:pt x="62" y="60"/>
                    <a:pt x="34" y="142"/>
                  </a:cubicBezTo>
                  <a:cubicBezTo>
                    <a:pt x="1" y="276"/>
                    <a:pt x="68" y="376"/>
                    <a:pt x="168" y="409"/>
                  </a:cubicBezTo>
                  <a:cubicBezTo>
                    <a:pt x="401" y="476"/>
                    <a:pt x="24652" y="7414"/>
                    <a:pt x="38228" y="9416"/>
                  </a:cubicBezTo>
                  <a:lnTo>
                    <a:pt x="38261" y="9416"/>
                  </a:lnTo>
                  <a:cubicBezTo>
                    <a:pt x="38362" y="9416"/>
                    <a:pt x="38428" y="9349"/>
                    <a:pt x="38462" y="9249"/>
                  </a:cubicBezTo>
                  <a:cubicBezTo>
                    <a:pt x="38462" y="9115"/>
                    <a:pt x="38395" y="9015"/>
                    <a:pt x="38261" y="9015"/>
                  </a:cubicBezTo>
                  <a:cubicBezTo>
                    <a:pt x="24718" y="7014"/>
                    <a:pt x="535" y="76"/>
                    <a:pt x="268" y="9"/>
                  </a:cubicBezTo>
                  <a:cubicBezTo>
                    <a:pt x="250" y="3"/>
                    <a:pt x="232" y="0"/>
                    <a:pt x="215"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4" name="Google Shape;454;p34"/>
            <p:cNvSpPr/>
            <p:nvPr/>
          </p:nvSpPr>
          <p:spPr>
            <a:xfrm>
              <a:off x="10905775" y="1762050"/>
              <a:ext cx="1244225" cy="1714425"/>
            </a:xfrm>
            <a:custGeom>
              <a:avLst/>
              <a:gdLst/>
              <a:ahLst/>
              <a:cxnLst/>
              <a:rect l="l" t="t" r="r" b="b"/>
              <a:pathLst>
                <a:path w="49769" h="68577" extrusionOk="0">
                  <a:moveTo>
                    <a:pt x="19076" y="429"/>
                  </a:moveTo>
                  <a:cubicBezTo>
                    <a:pt x="29026" y="429"/>
                    <a:pt x="47503" y="9810"/>
                    <a:pt x="49302" y="10735"/>
                  </a:cubicBezTo>
                  <a:lnTo>
                    <a:pt x="36560" y="68143"/>
                  </a:lnTo>
                  <a:cubicBezTo>
                    <a:pt x="10307" y="65775"/>
                    <a:pt x="1601" y="61772"/>
                    <a:pt x="467" y="61205"/>
                  </a:cubicBezTo>
                  <a:lnTo>
                    <a:pt x="13476" y="2663"/>
                  </a:lnTo>
                  <a:cubicBezTo>
                    <a:pt x="14464" y="1068"/>
                    <a:pt x="16480" y="429"/>
                    <a:pt x="19076" y="429"/>
                  </a:cubicBezTo>
                  <a:close/>
                  <a:moveTo>
                    <a:pt x="19087" y="0"/>
                  </a:moveTo>
                  <a:cubicBezTo>
                    <a:pt x="16093" y="0"/>
                    <a:pt x="14082" y="822"/>
                    <a:pt x="13076" y="2463"/>
                  </a:cubicBezTo>
                  <a:cubicBezTo>
                    <a:pt x="13076" y="2496"/>
                    <a:pt x="13076" y="2496"/>
                    <a:pt x="13043" y="2530"/>
                  </a:cubicBezTo>
                  <a:lnTo>
                    <a:pt x="0" y="61272"/>
                  </a:lnTo>
                  <a:cubicBezTo>
                    <a:pt x="0" y="61372"/>
                    <a:pt x="33" y="61438"/>
                    <a:pt x="100" y="61505"/>
                  </a:cubicBezTo>
                  <a:cubicBezTo>
                    <a:pt x="200" y="61538"/>
                    <a:pt x="8206" y="66008"/>
                    <a:pt x="36693" y="68577"/>
                  </a:cubicBezTo>
                  <a:lnTo>
                    <a:pt x="36726" y="68577"/>
                  </a:lnTo>
                  <a:cubicBezTo>
                    <a:pt x="36826" y="68577"/>
                    <a:pt x="36893" y="68510"/>
                    <a:pt x="36926" y="68410"/>
                  </a:cubicBezTo>
                  <a:lnTo>
                    <a:pt x="49736" y="10669"/>
                  </a:lnTo>
                  <a:cubicBezTo>
                    <a:pt x="49769" y="10569"/>
                    <a:pt x="49736" y="10502"/>
                    <a:pt x="49636" y="10435"/>
                  </a:cubicBezTo>
                  <a:cubicBezTo>
                    <a:pt x="49569" y="10402"/>
                    <a:pt x="41730" y="6299"/>
                    <a:pt x="33357" y="3297"/>
                  </a:cubicBezTo>
                  <a:cubicBezTo>
                    <a:pt x="27314" y="1097"/>
                    <a:pt x="22545" y="0"/>
                    <a:pt x="19087" y="0"/>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5" name="Google Shape;455;p34"/>
            <p:cNvSpPr/>
            <p:nvPr/>
          </p:nvSpPr>
          <p:spPr>
            <a:xfrm>
              <a:off x="11467825" y="3357200"/>
              <a:ext cx="311100" cy="47575"/>
            </a:xfrm>
            <a:custGeom>
              <a:avLst/>
              <a:gdLst/>
              <a:ahLst/>
              <a:cxnLst/>
              <a:rect l="l" t="t" r="r" b="b"/>
              <a:pathLst>
                <a:path w="12444" h="1903" extrusionOk="0">
                  <a:moveTo>
                    <a:pt x="268" y="1"/>
                  </a:moveTo>
                  <a:cubicBezTo>
                    <a:pt x="168" y="1"/>
                    <a:pt x="68" y="67"/>
                    <a:pt x="34" y="201"/>
                  </a:cubicBezTo>
                  <a:cubicBezTo>
                    <a:pt x="1" y="301"/>
                    <a:pt x="101" y="401"/>
                    <a:pt x="201" y="434"/>
                  </a:cubicBezTo>
                  <a:cubicBezTo>
                    <a:pt x="6038" y="1535"/>
                    <a:pt x="12143" y="1902"/>
                    <a:pt x="12210" y="1902"/>
                  </a:cubicBezTo>
                  <a:cubicBezTo>
                    <a:pt x="12343" y="1902"/>
                    <a:pt x="12443" y="1835"/>
                    <a:pt x="12443" y="1702"/>
                  </a:cubicBezTo>
                  <a:cubicBezTo>
                    <a:pt x="12443" y="1602"/>
                    <a:pt x="12343" y="1502"/>
                    <a:pt x="12243" y="1502"/>
                  </a:cubicBezTo>
                  <a:cubicBezTo>
                    <a:pt x="12176" y="1502"/>
                    <a:pt x="6105" y="1135"/>
                    <a:pt x="268"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6" name="Google Shape;456;p34"/>
            <p:cNvSpPr/>
            <p:nvPr/>
          </p:nvSpPr>
          <p:spPr>
            <a:xfrm>
              <a:off x="11191800" y="1830225"/>
              <a:ext cx="728050" cy="590500"/>
            </a:xfrm>
            <a:custGeom>
              <a:avLst/>
              <a:gdLst/>
              <a:ahLst/>
              <a:cxnLst/>
              <a:rect l="l" t="t" r="r" b="b"/>
              <a:pathLst>
                <a:path w="29122" h="23620" extrusionOk="0">
                  <a:moveTo>
                    <a:pt x="7700" y="414"/>
                  </a:moveTo>
                  <a:cubicBezTo>
                    <a:pt x="15775" y="414"/>
                    <a:pt x="27246" y="6189"/>
                    <a:pt x="28654" y="6908"/>
                  </a:cubicBezTo>
                  <a:cubicBezTo>
                    <a:pt x="28354" y="8175"/>
                    <a:pt x="26153" y="16915"/>
                    <a:pt x="24551" y="23119"/>
                  </a:cubicBezTo>
                  <a:cubicBezTo>
                    <a:pt x="12943" y="19350"/>
                    <a:pt x="2135" y="17682"/>
                    <a:pt x="468" y="17449"/>
                  </a:cubicBezTo>
                  <a:lnTo>
                    <a:pt x="4137" y="903"/>
                  </a:lnTo>
                  <a:cubicBezTo>
                    <a:pt x="5201" y="563"/>
                    <a:pt x="6407" y="414"/>
                    <a:pt x="7700" y="414"/>
                  </a:cubicBezTo>
                  <a:close/>
                  <a:moveTo>
                    <a:pt x="7696" y="1"/>
                  </a:moveTo>
                  <a:cubicBezTo>
                    <a:pt x="6252" y="1"/>
                    <a:pt x="4985" y="179"/>
                    <a:pt x="3903" y="536"/>
                  </a:cubicBezTo>
                  <a:cubicBezTo>
                    <a:pt x="3837" y="570"/>
                    <a:pt x="3770" y="636"/>
                    <a:pt x="3770" y="703"/>
                  </a:cubicBezTo>
                  <a:lnTo>
                    <a:pt x="1" y="17582"/>
                  </a:lnTo>
                  <a:cubicBezTo>
                    <a:pt x="1" y="17649"/>
                    <a:pt x="1" y="17715"/>
                    <a:pt x="34" y="17749"/>
                  </a:cubicBezTo>
                  <a:cubicBezTo>
                    <a:pt x="67" y="17782"/>
                    <a:pt x="134" y="17815"/>
                    <a:pt x="201" y="17849"/>
                  </a:cubicBezTo>
                  <a:cubicBezTo>
                    <a:pt x="301" y="17849"/>
                    <a:pt x="12009" y="19450"/>
                    <a:pt x="24618" y="23586"/>
                  </a:cubicBezTo>
                  <a:cubicBezTo>
                    <a:pt x="24652" y="23620"/>
                    <a:pt x="24685" y="23620"/>
                    <a:pt x="24685" y="23620"/>
                  </a:cubicBezTo>
                  <a:cubicBezTo>
                    <a:pt x="24718" y="23620"/>
                    <a:pt x="24785" y="23586"/>
                    <a:pt x="24785" y="23586"/>
                  </a:cubicBezTo>
                  <a:cubicBezTo>
                    <a:pt x="24852" y="23553"/>
                    <a:pt x="24885" y="23520"/>
                    <a:pt x="24885" y="23453"/>
                  </a:cubicBezTo>
                  <a:cubicBezTo>
                    <a:pt x="26620" y="16748"/>
                    <a:pt x="29121" y="6841"/>
                    <a:pt x="29121" y="6841"/>
                  </a:cubicBezTo>
                  <a:cubicBezTo>
                    <a:pt x="29121" y="6774"/>
                    <a:pt x="29088" y="6674"/>
                    <a:pt x="28988" y="6607"/>
                  </a:cubicBezTo>
                  <a:cubicBezTo>
                    <a:pt x="28955" y="6607"/>
                    <a:pt x="24752" y="4373"/>
                    <a:pt x="19581" y="2538"/>
                  </a:cubicBezTo>
                  <a:cubicBezTo>
                    <a:pt x="14827" y="847"/>
                    <a:pt x="10841" y="1"/>
                    <a:pt x="7696" y="1"/>
                  </a:cubicBezTo>
                  <a:close/>
                </a:path>
              </a:pathLst>
            </a:custGeom>
            <a:solidFill>
              <a:srgbClr val="E7C8A5"/>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7" name="Google Shape;457;p34"/>
            <p:cNvSpPr/>
            <p:nvPr/>
          </p:nvSpPr>
          <p:spPr>
            <a:xfrm>
              <a:off x="11042525" y="1895325"/>
              <a:ext cx="2193250" cy="2455725"/>
            </a:xfrm>
            <a:custGeom>
              <a:avLst/>
              <a:gdLst/>
              <a:ahLst/>
              <a:cxnLst/>
              <a:rect l="l" t="t" r="r" b="b"/>
              <a:pathLst>
                <a:path w="87730" h="98229" extrusionOk="0">
                  <a:moveTo>
                    <a:pt x="57975" y="1"/>
                  </a:moveTo>
                  <a:lnTo>
                    <a:pt x="1" y="22483"/>
                  </a:lnTo>
                  <a:lnTo>
                    <a:pt x="28521" y="96069"/>
                  </a:lnTo>
                  <a:cubicBezTo>
                    <a:pt x="29061" y="97407"/>
                    <a:pt x="30336" y="98229"/>
                    <a:pt x="31686" y="98229"/>
                  </a:cubicBezTo>
                  <a:cubicBezTo>
                    <a:pt x="32087" y="98229"/>
                    <a:pt x="32494" y="98157"/>
                    <a:pt x="32891" y="98004"/>
                  </a:cubicBezTo>
                  <a:lnTo>
                    <a:pt x="87730" y="76722"/>
                  </a:lnTo>
                  <a:lnTo>
                    <a:pt x="57975" y="1"/>
                  </a:lnTo>
                  <a:close/>
                </a:path>
              </a:pathLst>
            </a:custGeom>
            <a:solidFill>
              <a:srgbClr val="7F600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8" name="Google Shape;458;p34"/>
            <p:cNvSpPr/>
            <p:nvPr/>
          </p:nvSpPr>
          <p:spPr>
            <a:xfrm>
              <a:off x="11070875" y="1875300"/>
              <a:ext cx="2134050" cy="2444600"/>
            </a:xfrm>
            <a:custGeom>
              <a:avLst/>
              <a:gdLst/>
              <a:ahLst/>
              <a:cxnLst/>
              <a:rect l="l" t="t" r="r" b="b"/>
              <a:pathLst>
                <a:path w="85362" h="97784" extrusionOk="0">
                  <a:moveTo>
                    <a:pt x="55574" y="1"/>
                  </a:moveTo>
                  <a:lnTo>
                    <a:pt x="1" y="21550"/>
                  </a:lnTo>
                  <a:lnTo>
                    <a:pt x="29155" y="96704"/>
                  </a:lnTo>
                  <a:cubicBezTo>
                    <a:pt x="29412" y="97372"/>
                    <a:pt x="30046" y="97783"/>
                    <a:pt x="30721" y="97783"/>
                  </a:cubicBezTo>
                  <a:cubicBezTo>
                    <a:pt x="30921" y="97783"/>
                    <a:pt x="31125" y="97747"/>
                    <a:pt x="31323" y="97671"/>
                  </a:cubicBezTo>
                  <a:lnTo>
                    <a:pt x="85362" y="76723"/>
                  </a:lnTo>
                  <a:lnTo>
                    <a:pt x="55574"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9" name="Google Shape;459;p34"/>
            <p:cNvSpPr/>
            <p:nvPr/>
          </p:nvSpPr>
          <p:spPr>
            <a:xfrm>
              <a:off x="11007500" y="1806100"/>
              <a:ext cx="2193250" cy="2480975"/>
            </a:xfrm>
            <a:custGeom>
              <a:avLst/>
              <a:gdLst/>
              <a:ahLst/>
              <a:cxnLst/>
              <a:rect l="l" t="t" r="r" b="b"/>
              <a:pathLst>
                <a:path w="87730" h="99239" extrusionOk="0">
                  <a:moveTo>
                    <a:pt x="57975" y="0"/>
                  </a:moveTo>
                  <a:lnTo>
                    <a:pt x="1" y="22516"/>
                  </a:lnTo>
                  <a:lnTo>
                    <a:pt x="29755" y="99238"/>
                  </a:lnTo>
                  <a:lnTo>
                    <a:pt x="87730" y="76722"/>
                  </a:lnTo>
                  <a:lnTo>
                    <a:pt x="57975" y="0"/>
                  </a:lnTo>
                  <a:close/>
                </a:path>
              </a:pathLst>
            </a:custGeom>
            <a:solidFill>
              <a:schemeClr val="dk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0" name="Google Shape;460;p34"/>
            <p:cNvSpPr/>
            <p:nvPr/>
          </p:nvSpPr>
          <p:spPr>
            <a:xfrm>
              <a:off x="11007500" y="2278100"/>
              <a:ext cx="978225" cy="2008975"/>
            </a:xfrm>
            <a:custGeom>
              <a:avLst/>
              <a:gdLst/>
              <a:ahLst/>
              <a:cxnLst/>
              <a:rect l="l" t="t" r="r" b="b"/>
              <a:pathLst>
                <a:path w="39129" h="80359" extrusionOk="0">
                  <a:moveTo>
                    <a:pt x="9374" y="1"/>
                  </a:moveTo>
                  <a:lnTo>
                    <a:pt x="1" y="3636"/>
                  </a:lnTo>
                  <a:lnTo>
                    <a:pt x="29755" y="80358"/>
                  </a:lnTo>
                  <a:lnTo>
                    <a:pt x="39129" y="76722"/>
                  </a:lnTo>
                  <a:lnTo>
                    <a:pt x="9374"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1" name="Google Shape;461;p34"/>
            <p:cNvSpPr/>
            <p:nvPr/>
          </p:nvSpPr>
          <p:spPr>
            <a:xfrm>
              <a:off x="11241850" y="2263925"/>
              <a:ext cx="779725" cy="1931400"/>
            </a:xfrm>
            <a:custGeom>
              <a:avLst/>
              <a:gdLst/>
              <a:ahLst/>
              <a:cxnLst/>
              <a:rect l="l" t="t" r="r" b="b"/>
              <a:pathLst>
                <a:path w="31189" h="77256" extrusionOk="0">
                  <a:moveTo>
                    <a:pt x="1434" y="0"/>
                  </a:moveTo>
                  <a:lnTo>
                    <a:pt x="0" y="568"/>
                  </a:lnTo>
                  <a:lnTo>
                    <a:pt x="29755" y="77256"/>
                  </a:lnTo>
                  <a:lnTo>
                    <a:pt x="31189" y="76722"/>
                  </a:lnTo>
                  <a:lnTo>
                    <a:pt x="1434" y="0"/>
                  </a:lnTo>
                  <a:close/>
                </a:path>
              </a:pathLst>
            </a:custGeom>
            <a:solidFill>
              <a:srgbClr val="EDB64E"/>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2" name="Google Shape;462;p34"/>
            <p:cNvSpPr/>
            <p:nvPr/>
          </p:nvSpPr>
          <p:spPr>
            <a:xfrm>
              <a:off x="11420300" y="1939525"/>
              <a:ext cx="1635350" cy="2099850"/>
            </a:xfrm>
            <a:custGeom>
              <a:avLst/>
              <a:gdLst/>
              <a:ahLst/>
              <a:cxnLst/>
              <a:rect l="l" t="t" r="r" b="b"/>
              <a:pathLst>
                <a:path w="65414" h="83994" extrusionOk="0">
                  <a:moveTo>
                    <a:pt x="36393" y="568"/>
                  </a:moveTo>
                  <a:cubicBezTo>
                    <a:pt x="36693" y="1168"/>
                    <a:pt x="37194" y="1668"/>
                    <a:pt x="37827" y="1969"/>
                  </a:cubicBezTo>
                  <a:cubicBezTo>
                    <a:pt x="38190" y="2121"/>
                    <a:pt x="38574" y="2197"/>
                    <a:pt x="38961" y="2197"/>
                  </a:cubicBezTo>
                  <a:cubicBezTo>
                    <a:pt x="39251" y="2197"/>
                    <a:pt x="39543" y="2154"/>
                    <a:pt x="39829" y="2069"/>
                  </a:cubicBezTo>
                  <a:lnTo>
                    <a:pt x="64880" y="66682"/>
                  </a:lnTo>
                  <a:cubicBezTo>
                    <a:pt x="64280" y="66982"/>
                    <a:pt x="63779" y="67482"/>
                    <a:pt x="63512" y="68116"/>
                  </a:cubicBezTo>
                  <a:cubicBezTo>
                    <a:pt x="63212" y="68750"/>
                    <a:pt x="63179" y="69450"/>
                    <a:pt x="63379" y="70117"/>
                  </a:cubicBezTo>
                  <a:lnTo>
                    <a:pt x="29021" y="83460"/>
                  </a:lnTo>
                  <a:cubicBezTo>
                    <a:pt x="28554" y="82426"/>
                    <a:pt x="27520" y="81826"/>
                    <a:pt x="26419" y="81826"/>
                  </a:cubicBezTo>
                  <a:cubicBezTo>
                    <a:pt x="26152" y="81826"/>
                    <a:pt x="25886" y="81859"/>
                    <a:pt x="25585" y="81926"/>
                  </a:cubicBezTo>
                  <a:lnTo>
                    <a:pt x="534" y="17313"/>
                  </a:lnTo>
                  <a:cubicBezTo>
                    <a:pt x="1168" y="17013"/>
                    <a:pt x="1635" y="16512"/>
                    <a:pt x="1935" y="15879"/>
                  </a:cubicBezTo>
                  <a:cubicBezTo>
                    <a:pt x="2202" y="15245"/>
                    <a:pt x="2235" y="14544"/>
                    <a:pt x="2035" y="13877"/>
                  </a:cubicBezTo>
                  <a:lnTo>
                    <a:pt x="36393" y="568"/>
                  </a:lnTo>
                  <a:close/>
                  <a:moveTo>
                    <a:pt x="36627" y="1"/>
                  </a:moveTo>
                  <a:lnTo>
                    <a:pt x="1502" y="13644"/>
                  </a:lnTo>
                  <a:lnTo>
                    <a:pt x="1568" y="13844"/>
                  </a:lnTo>
                  <a:cubicBezTo>
                    <a:pt x="1802" y="14444"/>
                    <a:pt x="1802" y="15111"/>
                    <a:pt x="1535" y="15712"/>
                  </a:cubicBezTo>
                  <a:cubicBezTo>
                    <a:pt x="1268" y="16312"/>
                    <a:pt x="801" y="16779"/>
                    <a:pt x="167" y="17013"/>
                  </a:cubicBezTo>
                  <a:lnTo>
                    <a:pt x="0" y="17079"/>
                  </a:lnTo>
                  <a:lnTo>
                    <a:pt x="25352" y="82460"/>
                  </a:lnTo>
                  <a:lnTo>
                    <a:pt x="25552" y="82393"/>
                  </a:lnTo>
                  <a:cubicBezTo>
                    <a:pt x="25847" y="82276"/>
                    <a:pt x="26149" y="82221"/>
                    <a:pt x="26445" y="82221"/>
                  </a:cubicBezTo>
                  <a:cubicBezTo>
                    <a:pt x="27422" y="82221"/>
                    <a:pt x="28337" y="82821"/>
                    <a:pt x="28721" y="83794"/>
                  </a:cubicBezTo>
                  <a:lnTo>
                    <a:pt x="28788" y="83994"/>
                  </a:lnTo>
                  <a:lnTo>
                    <a:pt x="63913" y="70351"/>
                  </a:lnTo>
                  <a:lnTo>
                    <a:pt x="63846" y="70184"/>
                  </a:lnTo>
                  <a:cubicBezTo>
                    <a:pt x="63346" y="68917"/>
                    <a:pt x="63979" y="67482"/>
                    <a:pt x="65247" y="66982"/>
                  </a:cubicBezTo>
                  <a:lnTo>
                    <a:pt x="65414" y="66915"/>
                  </a:lnTo>
                  <a:lnTo>
                    <a:pt x="40129" y="1735"/>
                  </a:lnTo>
                  <a:lnTo>
                    <a:pt x="40062" y="1535"/>
                  </a:lnTo>
                  <a:lnTo>
                    <a:pt x="39862" y="1602"/>
                  </a:lnTo>
                  <a:cubicBezTo>
                    <a:pt x="39568" y="1718"/>
                    <a:pt x="39266" y="1773"/>
                    <a:pt x="38969" y="1773"/>
                  </a:cubicBezTo>
                  <a:cubicBezTo>
                    <a:pt x="37992" y="1773"/>
                    <a:pt x="37077" y="1173"/>
                    <a:pt x="36693" y="201"/>
                  </a:cubicBezTo>
                  <a:lnTo>
                    <a:pt x="36627" y="1"/>
                  </a:ln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3" name="Google Shape;463;p34"/>
            <p:cNvSpPr/>
            <p:nvPr/>
          </p:nvSpPr>
          <p:spPr>
            <a:xfrm>
              <a:off x="12426025" y="3694125"/>
              <a:ext cx="241025" cy="154300"/>
            </a:xfrm>
            <a:custGeom>
              <a:avLst/>
              <a:gdLst/>
              <a:ahLst/>
              <a:cxnLst/>
              <a:rect l="l" t="t" r="r" b="b"/>
              <a:pathLst>
                <a:path w="9641" h="6172" extrusionOk="0">
                  <a:moveTo>
                    <a:pt x="8540" y="0"/>
                  </a:moveTo>
                  <a:lnTo>
                    <a:pt x="0" y="3336"/>
                  </a:lnTo>
                  <a:lnTo>
                    <a:pt x="1101" y="6171"/>
                  </a:lnTo>
                  <a:lnTo>
                    <a:pt x="9640" y="2869"/>
                  </a:lnTo>
                  <a:lnTo>
                    <a:pt x="8540" y="0"/>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4" name="Google Shape;464;p34"/>
            <p:cNvSpPr/>
            <p:nvPr/>
          </p:nvSpPr>
          <p:spPr>
            <a:xfrm>
              <a:off x="11801400" y="2764275"/>
              <a:ext cx="933200" cy="577950"/>
            </a:xfrm>
            <a:custGeom>
              <a:avLst/>
              <a:gdLst/>
              <a:ahLst/>
              <a:cxnLst/>
              <a:rect l="l" t="t" r="r" b="b"/>
              <a:pathLst>
                <a:path w="37328" h="23118" extrusionOk="0">
                  <a:moveTo>
                    <a:pt x="33391" y="1"/>
                  </a:moveTo>
                  <a:lnTo>
                    <a:pt x="1" y="12943"/>
                  </a:lnTo>
                  <a:lnTo>
                    <a:pt x="3937" y="23117"/>
                  </a:lnTo>
                  <a:lnTo>
                    <a:pt x="37327" y="10175"/>
                  </a:lnTo>
                  <a:lnTo>
                    <a:pt x="33391"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5" name="Google Shape;465;p34"/>
            <p:cNvSpPr/>
            <p:nvPr/>
          </p:nvSpPr>
          <p:spPr>
            <a:xfrm>
              <a:off x="11744700" y="2617500"/>
              <a:ext cx="863975" cy="398650"/>
            </a:xfrm>
            <a:custGeom>
              <a:avLst/>
              <a:gdLst/>
              <a:ahLst/>
              <a:cxnLst/>
              <a:rect l="l" t="t" r="r" b="b"/>
              <a:pathLst>
                <a:path w="34559" h="15946" extrusionOk="0">
                  <a:moveTo>
                    <a:pt x="33391" y="1"/>
                  </a:moveTo>
                  <a:lnTo>
                    <a:pt x="0" y="12944"/>
                  </a:lnTo>
                  <a:lnTo>
                    <a:pt x="1135" y="15946"/>
                  </a:lnTo>
                  <a:lnTo>
                    <a:pt x="34558" y="2970"/>
                  </a:lnTo>
                  <a:lnTo>
                    <a:pt x="33391"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6" name="Google Shape;466;p34"/>
            <p:cNvSpPr/>
            <p:nvPr/>
          </p:nvSpPr>
          <p:spPr>
            <a:xfrm>
              <a:off x="11597925" y="2239750"/>
              <a:ext cx="863975" cy="397800"/>
            </a:xfrm>
            <a:custGeom>
              <a:avLst/>
              <a:gdLst/>
              <a:ahLst/>
              <a:cxnLst/>
              <a:rect l="l" t="t" r="r" b="b"/>
              <a:pathLst>
                <a:path w="34559" h="15912" extrusionOk="0">
                  <a:moveTo>
                    <a:pt x="33391" y="0"/>
                  </a:moveTo>
                  <a:lnTo>
                    <a:pt x="1" y="12943"/>
                  </a:lnTo>
                  <a:lnTo>
                    <a:pt x="1168" y="15911"/>
                  </a:lnTo>
                  <a:lnTo>
                    <a:pt x="34559" y="2969"/>
                  </a:lnTo>
                  <a:lnTo>
                    <a:pt x="33391" y="0"/>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467" name="Google Shape;467;p34"/>
          <p:cNvSpPr/>
          <p:nvPr/>
        </p:nvSpPr>
        <p:spPr>
          <a:xfrm>
            <a:off x="16622500" y="5943401"/>
            <a:ext cx="458133" cy="581033"/>
          </a:xfrm>
          <a:custGeom>
            <a:avLst/>
            <a:gdLst/>
            <a:ahLst/>
            <a:cxnLst/>
            <a:rect l="l" t="t" r="r" b="b"/>
            <a:pathLst>
              <a:path w="13744" h="17431" extrusionOk="0">
                <a:moveTo>
                  <a:pt x="13252" y="1"/>
                </a:moveTo>
                <a:cubicBezTo>
                  <a:pt x="13215" y="1"/>
                  <a:pt x="13179" y="6"/>
                  <a:pt x="13143" y="18"/>
                </a:cubicBezTo>
                <a:cubicBezTo>
                  <a:pt x="1" y="4088"/>
                  <a:pt x="167" y="16897"/>
                  <a:pt x="167" y="16997"/>
                </a:cubicBezTo>
                <a:cubicBezTo>
                  <a:pt x="167" y="17231"/>
                  <a:pt x="334" y="17431"/>
                  <a:pt x="568" y="17431"/>
                </a:cubicBezTo>
                <a:cubicBezTo>
                  <a:pt x="801" y="17431"/>
                  <a:pt x="1001" y="17231"/>
                  <a:pt x="1001" y="16997"/>
                </a:cubicBezTo>
                <a:cubicBezTo>
                  <a:pt x="968" y="16497"/>
                  <a:pt x="868" y="4688"/>
                  <a:pt x="13377" y="819"/>
                </a:cubicBezTo>
                <a:cubicBezTo>
                  <a:pt x="13610" y="752"/>
                  <a:pt x="13744" y="519"/>
                  <a:pt x="13677" y="285"/>
                </a:cubicBezTo>
                <a:cubicBezTo>
                  <a:pt x="13595" y="120"/>
                  <a:pt x="13422" y="1"/>
                  <a:pt x="1325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468" name="Google Shape;468;p34"/>
          <p:cNvGrpSpPr/>
          <p:nvPr/>
        </p:nvGrpSpPr>
        <p:grpSpPr>
          <a:xfrm rot="892186">
            <a:off x="8374473" y="4862437"/>
            <a:ext cx="3268356" cy="1200728"/>
            <a:chOff x="10253036" y="3422449"/>
            <a:chExt cx="2748147" cy="1009614"/>
          </a:xfrm>
        </p:grpSpPr>
        <p:sp>
          <p:nvSpPr>
            <p:cNvPr id="469" name="Google Shape;469;p34"/>
            <p:cNvSpPr/>
            <p:nvPr/>
          </p:nvSpPr>
          <p:spPr>
            <a:xfrm>
              <a:off x="12035804" y="3479245"/>
              <a:ext cx="274842" cy="429801"/>
            </a:xfrm>
            <a:custGeom>
              <a:avLst/>
              <a:gdLst/>
              <a:ahLst/>
              <a:cxnLst/>
              <a:rect l="l" t="t" r="r" b="b"/>
              <a:pathLst>
                <a:path w="8203" h="12827" extrusionOk="0">
                  <a:moveTo>
                    <a:pt x="1" y="0"/>
                  </a:moveTo>
                  <a:lnTo>
                    <a:pt x="1" y="12826"/>
                  </a:lnTo>
                  <a:lnTo>
                    <a:pt x="4102" y="9123"/>
                  </a:lnTo>
                  <a:lnTo>
                    <a:pt x="8203" y="12826"/>
                  </a:lnTo>
                  <a:lnTo>
                    <a:pt x="8203" y="0"/>
                  </a:lnTo>
                  <a:close/>
                </a:path>
              </a:pathLst>
            </a:custGeom>
            <a:solidFill>
              <a:srgbClr val="EF535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0" name="Google Shape;470;p34"/>
            <p:cNvSpPr/>
            <p:nvPr/>
          </p:nvSpPr>
          <p:spPr>
            <a:xfrm>
              <a:off x="10253036" y="3907605"/>
              <a:ext cx="2492269" cy="466257"/>
            </a:xfrm>
            <a:custGeom>
              <a:avLst/>
              <a:gdLst/>
              <a:ahLst/>
              <a:cxnLst/>
              <a:rect l="l" t="t" r="r" b="b"/>
              <a:pathLst>
                <a:path w="74385" h="13915" extrusionOk="0">
                  <a:moveTo>
                    <a:pt x="74280" y="0"/>
                  </a:moveTo>
                  <a:lnTo>
                    <a:pt x="4060" y="7407"/>
                  </a:lnTo>
                  <a:cubicBezTo>
                    <a:pt x="2679" y="7491"/>
                    <a:pt x="1507" y="8370"/>
                    <a:pt x="1068" y="9688"/>
                  </a:cubicBezTo>
                  <a:lnTo>
                    <a:pt x="168" y="12262"/>
                  </a:lnTo>
                  <a:cubicBezTo>
                    <a:pt x="1" y="12743"/>
                    <a:pt x="147" y="13266"/>
                    <a:pt x="524" y="13601"/>
                  </a:cubicBezTo>
                  <a:cubicBezTo>
                    <a:pt x="754" y="13810"/>
                    <a:pt x="1047" y="13915"/>
                    <a:pt x="1340" y="13915"/>
                  </a:cubicBezTo>
                  <a:cubicBezTo>
                    <a:pt x="1528" y="13915"/>
                    <a:pt x="1717" y="13873"/>
                    <a:pt x="1905" y="13789"/>
                  </a:cubicBezTo>
                  <a:cubicBezTo>
                    <a:pt x="3328" y="13078"/>
                    <a:pt x="5713" y="11466"/>
                    <a:pt x="6131" y="8370"/>
                  </a:cubicBezTo>
                  <a:lnTo>
                    <a:pt x="74384" y="1172"/>
                  </a:lnTo>
                  <a:lnTo>
                    <a:pt x="74280" y="0"/>
                  </a:lnTo>
                  <a:close/>
                </a:path>
              </a:pathLst>
            </a:custGeom>
            <a:solidFill>
              <a:schemeClr val="dk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1" name="Google Shape;471;p34"/>
            <p:cNvSpPr/>
            <p:nvPr/>
          </p:nvSpPr>
          <p:spPr>
            <a:xfrm>
              <a:off x="10508914" y="3907605"/>
              <a:ext cx="2492269" cy="466257"/>
            </a:xfrm>
            <a:custGeom>
              <a:avLst/>
              <a:gdLst/>
              <a:ahLst/>
              <a:cxnLst/>
              <a:rect l="l" t="t" r="r" b="b"/>
              <a:pathLst>
                <a:path w="74385" h="13915" extrusionOk="0">
                  <a:moveTo>
                    <a:pt x="126" y="0"/>
                  </a:moveTo>
                  <a:lnTo>
                    <a:pt x="1" y="1172"/>
                  </a:lnTo>
                  <a:lnTo>
                    <a:pt x="68254" y="8370"/>
                  </a:lnTo>
                  <a:cubicBezTo>
                    <a:pt x="68672" y="11466"/>
                    <a:pt x="71058" y="13078"/>
                    <a:pt x="72480" y="13789"/>
                  </a:cubicBezTo>
                  <a:cubicBezTo>
                    <a:pt x="72669" y="13873"/>
                    <a:pt x="72857" y="13915"/>
                    <a:pt x="73045" y="13915"/>
                  </a:cubicBezTo>
                  <a:cubicBezTo>
                    <a:pt x="73338" y="13915"/>
                    <a:pt x="73631" y="13810"/>
                    <a:pt x="73861" y="13601"/>
                  </a:cubicBezTo>
                  <a:cubicBezTo>
                    <a:pt x="74238" y="13266"/>
                    <a:pt x="74384" y="12743"/>
                    <a:pt x="74217" y="12262"/>
                  </a:cubicBezTo>
                  <a:lnTo>
                    <a:pt x="73317" y="9688"/>
                  </a:lnTo>
                  <a:cubicBezTo>
                    <a:pt x="72878" y="8370"/>
                    <a:pt x="71706" y="7491"/>
                    <a:pt x="70325" y="7407"/>
                  </a:cubicBezTo>
                  <a:lnTo>
                    <a:pt x="126" y="0"/>
                  </a:ln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2" name="Google Shape;472;p34"/>
            <p:cNvSpPr/>
            <p:nvPr/>
          </p:nvSpPr>
          <p:spPr>
            <a:xfrm>
              <a:off x="11732952" y="3936656"/>
              <a:ext cx="57528" cy="104577"/>
            </a:xfrm>
            <a:custGeom>
              <a:avLst/>
              <a:gdLst/>
              <a:ahLst/>
              <a:cxnLst/>
              <a:rect l="l" t="t" r="r" b="b"/>
              <a:pathLst>
                <a:path w="1717" h="3121" extrusionOk="0">
                  <a:moveTo>
                    <a:pt x="537" y="1"/>
                  </a:moveTo>
                  <a:cubicBezTo>
                    <a:pt x="511" y="1"/>
                    <a:pt x="485" y="4"/>
                    <a:pt x="461" y="12"/>
                  </a:cubicBezTo>
                  <a:cubicBezTo>
                    <a:pt x="105" y="96"/>
                    <a:pt x="1" y="870"/>
                    <a:pt x="231" y="1728"/>
                  </a:cubicBezTo>
                  <a:cubicBezTo>
                    <a:pt x="425" y="2523"/>
                    <a:pt x="852" y="3120"/>
                    <a:pt x="1197" y="3120"/>
                  </a:cubicBezTo>
                  <a:cubicBezTo>
                    <a:pt x="1224" y="3120"/>
                    <a:pt x="1251" y="3116"/>
                    <a:pt x="1277" y="3109"/>
                  </a:cubicBezTo>
                  <a:cubicBezTo>
                    <a:pt x="1612" y="3025"/>
                    <a:pt x="1716" y="2251"/>
                    <a:pt x="1486" y="1393"/>
                  </a:cubicBezTo>
                  <a:cubicBezTo>
                    <a:pt x="1292" y="598"/>
                    <a:pt x="865" y="1"/>
                    <a:pt x="537" y="1"/>
                  </a:cubicBezTo>
                  <a:close/>
                </a:path>
              </a:pathLst>
            </a:custGeom>
            <a:solidFill>
              <a:srgbClr val="FFECB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3" name="Google Shape;473;p34"/>
            <p:cNvSpPr/>
            <p:nvPr/>
          </p:nvSpPr>
          <p:spPr>
            <a:xfrm>
              <a:off x="11463739" y="3936656"/>
              <a:ext cx="57528" cy="104577"/>
            </a:xfrm>
            <a:custGeom>
              <a:avLst/>
              <a:gdLst/>
              <a:ahLst/>
              <a:cxnLst/>
              <a:rect l="l" t="t" r="r" b="b"/>
              <a:pathLst>
                <a:path w="1717" h="3121" extrusionOk="0">
                  <a:moveTo>
                    <a:pt x="1197" y="1"/>
                  </a:moveTo>
                  <a:cubicBezTo>
                    <a:pt x="852" y="1"/>
                    <a:pt x="425" y="598"/>
                    <a:pt x="231" y="1393"/>
                  </a:cubicBezTo>
                  <a:cubicBezTo>
                    <a:pt x="1" y="2251"/>
                    <a:pt x="105" y="3025"/>
                    <a:pt x="461" y="3109"/>
                  </a:cubicBezTo>
                  <a:cubicBezTo>
                    <a:pt x="486" y="3116"/>
                    <a:pt x="511" y="3120"/>
                    <a:pt x="537" y="3120"/>
                  </a:cubicBezTo>
                  <a:cubicBezTo>
                    <a:pt x="865" y="3120"/>
                    <a:pt x="1293" y="2523"/>
                    <a:pt x="1486" y="1728"/>
                  </a:cubicBezTo>
                  <a:cubicBezTo>
                    <a:pt x="1717" y="870"/>
                    <a:pt x="1612" y="96"/>
                    <a:pt x="1277" y="12"/>
                  </a:cubicBezTo>
                  <a:cubicBezTo>
                    <a:pt x="1251" y="4"/>
                    <a:pt x="1224" y="1"/>
                    <a:pt x="1197" y="1"/>
                  </a:cubicBezTo>
                  <a:close/>
                </a:path>
              </a:pathLst>
            </a:custGeom>
            <a:solidFill>
              <a:srgbClr val="FFECB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4" name="Google Shape;474;p34"/>
            <p:cNvSpPr/>
            <p:nvPr/>
          </p:nvSpPr>
          <p:spPr>
            <a:xfrm>
              <a:off x="11442732" y="3797532"/>
              <a:ext cx="368756" cy="244705"/>
            </a:xfrm>
            <a:custGeom>
              <a:avLst/>
              <a:gdLst/>
              <a:ahLst/>
              <a:cxnLst/>
              <a:rect l="l" t="t" r="r" b="b"/>
              <a:pathLst>
                <a:path w="11006" h="7303" extrusionOk="0">
                  <a:moveTo>
                    <a:pt x="5503" y="0"/>
                  </a:moveTo>
                  <a:cubicBezTo>
                    <a:pt x="4080" y="0"/>
                    <a:pt x="2909" y="482"/>
                    <a:pt x="2009" y="1423"/>
                  </a:cubicBezTo>
                  <a:cubicBezTo>
                    <a:pt x="0" y="3515"/>
                    <a:pt x="147" y="7156"/>
                    <a:pt x="147" y="7303"/>
                  </a:cubicBezTo>
                  <a:lnTo>
                    <a:pt x="1339" y="7261"/>
                  </a:lnTo>
                  <a:cubicBezTo>
                    <a:pt x="1318" y="7219"/>
                    <a:pt x="1214" y="3955"/>
                    <a:pt x="2867" y="2239"/>
                  </a:cubicBezTo>
                  <a:cubicBezTo>
                    <a:pt x="3536" y="1528"/>
                    <a:pt x="4394" y="1172"/>
                    <a:pt x="5503" y="1172"/>
                  </a:cubicBezTo>
                  <a:cubicBezTo>
                    <a:pt x="6612" y="1172"/>
                    <a:pt x="7470" y="1528"/>
                    <a:pt x="8160" y="2239"/>
                  </a:cubicBezTo>
                  <a:cubicBezTo>
                    <a:pt x="9813" y="3955"/>
                    <a:pt x="9688" y="7219"/>
                    <a:pt x="9688" y="7261"/>
                  </a:cubicBezTo>
                  <a:lnTo>
                    <a:pt x="10860" y="7303"/>
                  </a:lnTo>
                  <a:cubicBezTo>
                    <a:pt x="10860" y="7156"/>
                    <a:pt x="11006" y="3515"/>
                    <a:pt x="9018" y="1423"/>
                  </a:cubicBezTo>
                  <a:cubicBezTo>
                    <a:pt x="8119" y="482"/>
                    <a:pt x="6926" y="0"/>
                    <a:pt x="5503"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5" name="Google Shape;475;p34"/>
            <p:cNvSpPr/>
            <p:nvPr/>
          </p:nvSpPr>
          <p:spPr>
            <a:xfrm>
              <a:off x="10511025" y="3442085"/>
              <a:ext cx="969601" cy="970344"/>
            </a:xfrm>
            <a:custGeom>
              <a:avLst/>
              <a:gdLst/>
              <a:ahLst/>
              <a:cxnLst/>
              <a:rect l="l" t="t" r="r" b="b"/>
              <a:pathLst>
                <a:path w="28939" h="28959" extrusionOk="0">
                  <a:moveTo>
                    <a:pt x="14459" y="0"/>
                  </a:moveTo>
                  <a:cubicBezTo>
                    <a:pt x="6466" y="0"/>
                    <a:pt x="1" y="6486"/>
                    <a:pt x="1" y="14479"/>
                  </a:cubicBezTo>
                  <a:cubicBezTo>
                    <a:pt x="1" y="22472"/>
                    <a:pt x="6466" y="28958"/>
                    <a:pt x="14459" y="28958"/>
                  </a:cubicBezTo>
                  <a:cubicBezTo>
                    <a:pt x="22473" y="28958"/>
                    <a:pt x="28938" y="22472"/>
                    <a:pt x="28938" y="14479"/>
                  </a:cubicBezTo>
                  <a:cubicBezTo>
                    <a:pt x="28938" y="6486"/>
                    <a:pt x="22473" y="0"/>
                    <a:pt x="14459" y="0"/>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6" name="Google Shape;476;p34"/>
            <p:cNvSpPr/>
            <p:nvPr/>
          </p:nvSpPr>
          <p:spPr>
            <a:xfrm>
              <a:off x="10511025" y="3442721"/>
              <a:ext cx="614147" cy="613556"/>
            </a:xfrm>
            <a:custGeom>
              <a:avLst/>
              <a:gdLst/>
              <a:ahLst/>
              <a:cxnLst/>
              <a:rect l="l" t="t" r="r" b="b"/>
              <a:pathLst>
                <a:path w="18330" h="18311" extrusionOk="0">
                  <a:moveTo>
                    <a:pt x="14661" y="0"/>
                  </a:moveTo>
                  <a:cubicBezTo>
                    <a:pt x="14594" y="0"/>
                    <a:pt x="14526" y="1"/>
                    <a:pt x="14459" y="2"/>
                  </a:cubicBezTo>
                  <a:cubicBezTo>
                    <a:pt x="13999" y="2"/>
                    <a:pt x="13559" y="23"/>
                    <a:pt x="13099" y="65"/>
                  </a:cubicBezTo>
                  <a:lnTo>
                    <a:pt x="63" y="13100"/>
                  </a:lnTo>
                  <a:cubicBezTo>
                    <a:pt x="22" y="13540"/>
                    <a:pt x="1" y="14000"/>
                    <a:pt x="1" y="14460"/>
                  </a:cubicBezTo>
                  <a:cubicBezTo>
                    <a:pt x="1" y="15799"/>
                    <a:pt x="168" y="17097"/>
                    <a:pt x="503" y="18310"/>
                  </a:cubicBezTo>
                  <a:lnTo>
                    <a:pt x="18330" y="504"/>
                  </a:lnTo>
                  <a:cubicBezTo>
                    <a:pt x="17157" y="186"/>
                    <a:pt x="15929" y="0"/>
                    <a:pt x="14661"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7" name="Google Shape;477;p34"/>
            <p:cNvSpPr/>
            <p:nvPr/>
          </p:nvSpPr>
          <p:spPr>
            <a:xfrm>
              <a:off x="10553811" y="3485544"/>
              <a:ext cx="705280" cy="705333"/>
            </a:xfrm>
            <a:custGeom>
              <a:avLst/>
              <a:gdLst/>
              <a:ahLst/>
              <a:cxnLst/>
              <a:rect l="l" t="t" r="r" b="b"/>
              <a:pathLst>
                <a:path w="21050" h="21050" extrusionOk="0">
                  <a:moveTo>
                    <a:pt x="19166" y="0"/>
                  </a:moveTo>
                  <a:lnTo>
                    <a:pt x="0" y="19166"/>
                  </a:lnTo>
                  <a:cubicBezTo>
                    <a:pt x="293" y="19815"/>
                    <a:pt x="649" y="20443"/>
                    <a:pt x="1025" y="21049"/>
                  </a:cubicBezTo>
                  <a:lnTo>
                    <a:pt x="21049" y="1026"/>
                  </a:lnTo>
                  <a:cubicBezTo>
                    <a:pt x="20463" y="649"/>
                    <a:pt x="19836" y="293"/>
                    <a:pt x="19166"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8" name="Google Shape;478;p34"/>
            <p:cNvSpPr/>
            <p:nvPr/>
          </p:nvSpPr>
          <p:spPr>
            <a:xfrm>
              <a:off x="10490687" y="3422449"/>
              <a:ext cx="1010243" cy="1009614"/>
            </a:xfrm>
            <a:custGeom>
              <a:avLst/>
              <a:gdLst/>
              <a:ahLst/>
              <a:cxnLst/>
              <a:rect l="l" t="t" r="r" b="b"/>
              <a:pathLst>
                <a:path w="30152" h="30131" extrusionOk="0">
                  <a:moveTo>
                    <a:pt x="15087" y="1193"/>
                  </a:moveTo>
                  <a:cubicBezTo>
                    <a:pt x="22745" y="1193"/>
                    <a:pt x="28959" y="7407"/>
                    <a:pt x="28959" y="15065"/>
                  </a:cubicBezTo>
                  <a:cubicBezTo>
                    <a:pt x="28959" y="22723"/>
                    <a:pt x="22745" y="28958"/>
                    <a:pt x="15087" y="28958"/>
                  </a:cubicBezTo>
                  <a:cubicBezTo>
                    <a:pt x="7429" y="28958"/>
                    <a:pt x="1194" y="22723"/>
                    <a:pt x="1194" y="15065"/>
                  </a:cubicBezTo>
                  <a:cubicBezTo>
                    <a:pt x="1194" y="7407"/>
                    <a:pt x="7408" y="1193"/>
                    <a:pt x="15087" y="1193"/>
                  </a:cubicBezTo>
                  <a:close/>
                  <a:moveTo>
                    <a:pt x="15087" y="0"/>
                  </a:moveTo>
                  <a:cubicBezTo>
                    <a:pt x="6759" y="0"/>
                    <a:pt x="1" y="6759"/>
                    <a:pt x="1" y="15065"/>
                  </a:cubicBezTo>
                  <a:cubicBezTo>
                    <a:pt x="1" y="23372"/>
                    <a:pt x="6759" y="30130"/>
                    <a:pt x="15087" y="30130"/>
                  </a:cubicBezTo>
                  <a:cubicBezTo>
                    <a:pt x="23394" y="30130"/>
                    <a:pt x="30152" y="23372"/>
                    <a:pt x="30152" y="15065"/>
                  </a:cubicBezTo>
                  <a:cubicBezTo>
                    <a:pt x="30152" y="6759"/>
                    <a:pt x="23394" y="0"/>
                    <a:pt x="15087"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9" name="Google Shape;479;p34"/>
            <p:cNvSpPr/>
            <p:nvPr/>
          </p:nvSpPr>
          <p:spPr>
            <a:xfrm>
              <a:off x="11773627" y="3442085"/>
              <a:ext cx="969568" cy="970344"/>
            </a:xfrm>
            <a:custGeom>
              <a:avLst/>
              <a:gdLst/>
              <a:ahLst/>
              <a:cxnLst/>
              <a:rect l="l" t="t" r="r" b="b"/>
              <a:pathLst>
                <a:path w="28938" h="28959" extrusionOk="0">
                  <a:moveTo>
                    <a:pt x="14479" y="0"/>
                  </a:moveTo>
                  <a:cubicBezTo>
                    <a:pt x="6466" y="0"/>
                    <a:pt x="0" y="6486"/>
                    <a:pt x="0" y="14479"/>
                  </a:cubicBezTo>
                  <a:cubicBezTo>
                    <a:pt x="0" y="22472"/>
                    <a:pt x="6466" y="28958"/>
                    <a:pt x="14479" y="28958"/>
                  </a:cubicBezTo>
                  <a:cubicBezTo>
                    <a:pt x="22472" y="28958"/>
                    <a:pt x="28937" y="22472"/>
                    <a:pt x="28937" y="14479"/>
                  </a:cubicBezTo>
                  <a:cubicBezTo>
                    <a:pt x="28937" y="6486"/>
                    <a:pt x="22472" y="0"/>
                    <a:pt x="14479" y="0"/>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0" name="Google Shape;480;p34"/>
            <p:cNvSpPr/>
            <p:nvPr/>
          </p:nvSpPr>
          <p:spPr>
            <a:xfrm>
              <a:off x="11772924" y="3442721"/>
              <a:ext cx="614850" cy="613556"/>
            </a:xfrm>
            <a:custGeom>
              <a:avLst/>
              <a:gdLst/>
              <a:ahLst/>
              <a:cxnLst/>
              <a:rect l="l" t="t" r="r" b="b"/>
              <a:pathLst>
                <a:path w="18351" h="18311" extrusionOk="0">
                  <a:moveTo>
                    <a:pt x="14681" y="0"/>
                  </a:moveTo>
                  <a:cubicBezTo>
                    <a:pt x="14614" y="0"/>
                    <a:pt x="14547" y="1"/>
                    <a:pt x="14479" y="2"/>
                  </a:cubicBezTo>
                  <a:cubicBezTo>
                    <a:pt x="14019" y="2"/>
                    <a:pt x="13580" y="23"/>
                    <a:pt x="13119" y="65"/>
                  </a:cubicBezTo>
                  <a:lnTo>
                    <a:pt x="84" y="13100"/>
                  </a:lnTo>
                  <a:cubicBezTo>
                    <a:pt x="21" y="13540"/>
                    <a:pt x="0" y="14000"/>
                    <a:pt x="0" y="14460"/>
                  </a:cubicBezTo>
                  <a:cubicBezTo>
                    <a:pt x="0" y="15799"/>
                    <a:pt x="189" y="17097"/>
                    <a:pt x="523" y="18310"/>
                  </a:cubicBezTo>
                  <a:lnTo>
                    <a:pt x="18350" y="504"/>
                  </a:lnTo>
                  <a:cubicBezTo>
                    <a:pt x="17178" y="186"/>
                    <a:pt x="15949" y="0"/>
                    <a:pt x="14681"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1" name="Google Shape;481;p34"/>
            <p:cNvSpPr/>
            <p:nvPr/>
          </p:nvSpPr>
          <p:spPr>
            <a:xfrm>
              <a:off x="11816380" y="3485544"/>
              <a:ext cx="705280" cy="705333"/>
            </a:xfrm>
            <a:custGeom>
              <a:avLst/>
              <a:gdLst/>
              <a:ahLst/>
              <a:cxnLst/>
              <a:rect l="l" t="t" r="r" b="b"/>
              <a:pathLst>
                <a:path w="21050" h="21050" extrusionOk="0">
                  <a:moveTo>
                    <a:pt x="19166" y="0"/>
                  </a:moveTo>
                  <a:lnTo>
                    <a:pt x="0" y="19166"/>
                  </a:lnTo>
                  <a:cubicBezTo>
                    <a:pt x="293" y="19815"/>
                    <a:pt x="649" y="20443"/>
                    <a:pt x="1047" y="21049"/>
                  </a:cubicBezTo>
                  <a:lnTo>
                    <a:pt x="21050" y="1026"/>
                  </a:lnTo>
                  <a:cubicBezTo>
                    <a:pt x="20464" y="649"/>
                    <a:pt x="19836" y="293"/>
                    <a:pt x="19166"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2" name="Google Shape;482;p34"/>
            <p:cNvSpPr/>
            <p:nvPr/>
          </p:nvSpPr>
          <p:spPr>
            <a:xfrm>
              <a:off x="11753290" y="3422449"/>
              <a:ext cx="1010243" cy="1009614"/>
            </a:xfrm>
            <a:custGeom>
              <a:avLst/>
              <a:gdLst/>
              <a:ahLst/>
              <a:cxnLst/>
              <a:rect l="l" t="t" r="r" b="b"/>
              <a:pathLst>
                <a:path w="30152" h="30131" extrusionOk="0">
                  <a:moveTo>
                    <a:pt x="15086" y="1193"/>
                  </a:moveTo>
                  <a:cubicBezTo>
                    <a:pt x="22744" y="1193"/>
                    <a:pt x="28959" y="7407"/>
                    <a:pt x="28959" y="15065"/>
                  </a:cubicBezTo>
                  <a:cubicBezTo>
                    <a:pt x="28959" y="22723"/>
                    <a:pt x="22744" y="28958"/>
                    <a:pt x="15086" y="28958"/>
                  </a:cubicBezTo>
                  <a:cubicBezTo>
                    <a:pt x="7428" y="28958"/>
                    <a:pt x="1193" y="22723"/>
                    <a:pt x="1193" y="15065"/>
                  </a:cubicBezTo>
                  <a:cubicBezTo>
                    <a:pt x="1193" y="7407"/>
                    <a:pt x="7428" y="1193"/>
                    <a:pt x="15086" y="1193"/>
                  </a:cubicBezTo>
                  <a:close/>
                  <a:moveTo>
                    <a:pt x="15086" y="0"/>
                  </a:moveTo>
                  <a:cubicBezTo>
                    <a:pt x="6759" y="0"/>
                    <a:pt x="0" y="6759"/>
                    <a:pt x="0" y="15065"/>
                  </a:cubicBezTo>
                  <a:cubicBezTo>
                    <a:pt x="0" y="23372"/>
                    <a:pt x="6759" y="30130"/>
                    <a:pt x="15086" y="30130"/>
                  </a:cubicBezTo>
                  <a:cubicBezTo>
                    <a:pt x="23393" y="30130"/>
                    <a:pt x="30151" y="23372"/>
                    <a:pt x="30151" y="15065"/>
                  </a:cubicBezTo>
                  <a:cubicBezTo>
                    <a:pt x="30151" y="6759"/>
                    <a:pt x="23393" y="0"/>
                    <a:pt x="15086"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3" name="Google Shape;483;p34"/>
            <p:cNvSpPr/>
            <p:nvPr/>
          </p:nvSpPr>
          <p:spPr>
            <a:xfrm>
              <a:off x="10457752" y="3880966"/>
              <a:ext cx="72237" cy="93285"/>
            </a:xfrm>
            <a:custGeom>
              <a:avLst/>
              <a:gdLst/>
              <a:ahLst/>
              <a:cxnLst/>
              <a:rect l="l" t="t" r="r" b="b"/>
              <a:pathLst>
                <a:path w="2156" h="2784" extrusionOk="0">
                  <a:moveTo>
                    <a:pt x="1381" y="0"/>
                  </a:moveTo>
                  <a:cubicBezTo>
                    <a:pt x="607" y="0"/>
                    <a:pt x="0" y="628"/>
                    <a:pt x="0" y="1381"/>
                  </a:cubicBezTo>
                  <a:cubicBezTo>
                    <a:pt x="0" y="2155"/>
                    <a:pt x="607" y="2783"/>
                    <a:pt x="1381" y="2783"/>
                  </a:cubicBezTo>
                  <a:cubicBezTo>
                    <a:pt x="2156" y="2783"/>
                    <a:pt x="1381" y="2155"/>
                    <a:pt x="1381" y="1381"/>
                  </a:cubicBezTo>
                  <a:cubicBezTo>
                    <a:pt x="1381" y="628"/>
                    <a:pt x="2156" y="0"/>
                    <a:pt x="1381"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4" name="Google Shape;484;p34"/>
            <p:cNvSpPr/>
            <p:nvPr/>
          </p:nvSpPr>
          <p:spPr>
            <a:xfrm>
              <a:off x="12724231" y="3880966"/>
              <a:ext cx="72237" cy="93285"/>
            </a:xfrm>
            <a:custGeom>
              <a:avLst/>
              <a:gdLst/>
              <a:ahLst/>
              <a:cxnLst/>
              <a:rect l="l" t="t" r="r" b="b"/>
              <a:pathLst>
                <a:path w="2156" h="2784" extrusionOk="0">
                  <a:moveTo>
                    <a:pt x="775" y="0"/>
                  </a:moveTo>
                  <a:cubicBezTo>
                    <a:pt x="1" y="0"/>
                    <a:pt x="775" y="628"/>
                    <a:pt x="775" y="1381"/>
                  </a:cubicBezTo>
                  <a:cubicBezTo>
                    <a:pt x="775" y="2155"/>
                    <a:pt x="1" y="2783"/>
                    <a:pt x="775" y="2783"/>
                  </a:cubicBezTo>
                  <a:cubicBezTo>
                    <a:pt x="1549" y="2783"/>
                    <a:pt x="2156" y="2155"/>
                    <a:pt x="2156" y="1381"/>
                  </a:cubicBezTo>
                  <a:cubicBezTo>
                    <a:pt x="2156" y="628"/>
                    <a:pt x="1549" y="0"/>
                    <a:pt x="775"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485" name="Google Shape;485;p34"/>
          <p:cNvSpPr/>
          <p:nvPr/>
        </p:nvSpPr>
        <p:spPr>
          <a:xfrm>
            <a:off x="6095993" y="2372961"/>
            <a:ext cx="389495" cy="389495"/>
          </a:xfrm>
          <a:custGeom>
            <a:avLst/>
            <a:gdLst/>
            <a:ahLst/>
            <a:cxnLst/>
            <a:rect l="l" t="t" r="r" b="b"/>
            <a:pathLst>
              <a:path w="7994" h="7994" extrusionOk="0">
                <a:moveTo>
                  <a:pt x="3997" y="0"/>
                </a:moveTo>
                <a:cubicBezTo>
                  <a:pt x="3537" y="0"/>
                  <a:pt x="3160" y="377"/>
                  <a:pt x="3160" y="837"/>
                </a:cubicBezTo>
                <a:lnTo>
                  <a:pt x="3160" y="3160"/>
                </a:lnTo>
                <a:lnTo>
                  <a:pt x="858" y="3160"/>
                </a:lnTo>
                <a:cubicBezTo>
                  <a:pt x="377" y="3160"/>
                  <a:pt x="1" y="3536"/>
                  <a:pt x="1" y="3997"/>
                </a:cubicBezTo>
                <a:cubicBezTo>
                  <a:pt x="1" y="4457"/>
                  <a:pt x="377" y="4834"/>
                  <a:pt x="858" y="4834"/>
                </a:cubicBezTo>
                <a:lnTo>
                  <a:pt x="3160" y="4834"/>
                </a:lnTo>
                <a:lnTo>
                  <a:pt x="3160" y="7156"/>
                </a:lnTo>
                <a:cubicBezTo>
                  <a:pt x="3160" y="7617"/>
                  <a:pt x="3537" y="7993"/>
                  <a:pt x="3997" y="7993"/>
                </a:cubicBezTo>
                <a:cubicBezTo>
                  <a:pt x="4457" y="7993"/>
                  <a:pt x="4855" y="7617"/>
                  <a:pt x="4855" y="7156"/>
                </a:cubicBezTo>
                <a:lnTo>
                  <a:pt x="4855" y="4834"/>
                </a:lnTo>
                <a:lnTo>
                  <a:pt x="7156" y="4834"/>
                </a:lnTo>
                <a:cubicBezTo>
                  <a:pt x="7617" y="4834"/>
                  <a:pt x="7993" y="4457"/>
                  <a:pt x="7993" y="3997"/>
                </a:cubicBezTo>
                <a:cubicBezTo>
                  <a:pt x="7993" y="3536"/>
                  <a:pt x="7617" y="3160"/>
                  <a:pt x="7156" y="3160"/>
                </a:cubicBezTo>
                <a:lnTo>
                  <a:pt x="4855" y="3160"/>
                </a:lnTo>
                <a:lnTo>
                  <a:pt x="4855" y="837"/>
                </a:lnTo>
                <a:cubicBezTo>
                  <a:pt x="4855" y="377"/>
                  <a:pt x="4457" y="0"/>
                  <a:pt x="3997"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6" name="Google Shape;486;p34"/>
          <p:cNvSpPr/>
          <p:nvPr/>
        </p:nvSpPr>
        <p:spPr>
          <a:xfrm>
            <a:off x="10486458" y="737348"/>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7" name="Google Shape;487;p34"/>
          <p:cNvSpPr/>
          <p:nvPr/>
        </p:nvSpPr>
        <p:spPr>
          <a:xfrm>
            <a:off x="10337223" y="4320178"/>
            <a:ext cx="769671" cy="769628"/>
          </a:xfrm>
          <a:custGeom>
            <a:avLst/>
            <a:gdLst/>
            <a:ahLst/>
            <a:cxnLst/>
            <a:rect l="l" t="t" r="r" b="b"/>
            <a:pathLst>
              <a:path w="4207" h="4207" extrusionOk="0">
                <a:moveTo>
                  <a:pt x="2093" y="1"/>
                </a:moveTo>
                <a:cubicBezTo>
                  <a:pt x="1863" y="1"/>
                  <a:pt x="1654" y="210"/>
                  <a:pt x="1654" y="440"/>
                </a:cubicBezTo>
                <a:lnTo>
                  <a:pt x="1654" y="1675"/>
                </a:lnTo>
                <a:lnTo>
                  <a:pt x="440" y="1675"/>
                </a:lnTo>
                <a:cubicBezTo>
                  <a:pt x="189" y="1675"/>
                  <a:pt x="1" y="1863"/>
                  <a:pt x="1" y="2114"/>
                </a:cubicBezTo>
                <a:cubicBezTo>
                  <a:pt x="1" y="2344"/>
                  <a:pt x="189" y="2553"/>
                  <a:pt x="440" y="2553"/>
                </a:cubicBezTo>
                <a:lnTo>
                  <a:pt x="1654" y="2553"/>
                </a:lnTo>
                <a:lnTo>
                  <a:pt x="1654" y="3767"/>
                </a:lnTo>
                <a:cubicBezTo>
                  <a:pt x="1654" y="4018"/>
                  <a:pt x="1863" y="4206"/>
                  <a:pt x="2093" y="4206"/>
                </a:cubicBezTo>
                <a:cubicBezTo>
                  <a:pt x="2344" y="4206"/>
                  <a:pt x="2533" y="4018"/>
                  <a:pt x="2533" y="3767"/>
                </a:cubicBezTo>
                <a:lnTo>
                  <a:pt x="2533" y="2553"/>
                </a:lnTo>
                <a:lnTo>
                  <a:pt x="3767" y="2553"/>
                </a:lnTo>
                <a:cubicBezTo>
                  <a:pt x="3997" y="2553"/>
                  <a:pt x="4206" y="2344"/>
                  <a:pt x="4206" y="2114"/>
                </a:cubicBezTo>
                <a:cubicBezTo>
                  <a:pt x="4206" y="1863"/>
                  <a:pt x="4018" y="1675"/>
                  <a:pt x="3767" y="1675"/>
                </a:cubicBezTo>
                <a:lnTo>
                  <a:pt x="2533" y="1675"/>
                </a:lnTo>
                <a:lnTo>
                  <a:pt x="2533" y="440"/>
                </a:lnTo>
                <a:cubicBezTo>
                  <a:pt x="2533" y="210"/>
                  <a:pt x="2344" y="1"/>
                  <a:pt x="2093" y="1"/>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4787543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491"/>
        <p:cNvGrpSpPr/>
        <p:nvPr/>
      </p:nvGrpSpPr>
      <p:grpSpPr>
        <a:xfrm>
          <a:off x="0" y="0"/>
          <a:ext cx="0" cy="0"/>
          <a:chOff x="0" y="0"/>
          <a:chExt cx="0" cy="0"/>
        </a:xfrm>
      </p:grpSpPr>
      <p:sp>
        <p:nvSpPr>
          <p:cNvPr id="492" name="Google Shape;492;p35"/>
          <p:cNvSpPr txBox="1">
            <a:spLocks noGrp="1"/>
          </p:cNvSpPr>
          <p:nvPr>
            <p:ph type="title"/>
          </p:nvPr>
        </p:nvSpPr>
        <p:spPr>
          <a:xfrm>
            <a:off x="1992833" y="295967"/>
            <a:ext cx="8830000" cy="1690800"/>
          </a:xfrm>
          <a:prstGeom prst="rect">
            <a:avLst/>
          </a:prstGeom>
        </p:spPr>
        <p:txBody>
          <a:bodyPr spcFirstLastPara="1" wrap="square" lIns="121900" tIns="121900" rIns="121900" bIns="121900" anchor="ctr" anchorCtr="0">
            <a:noAutofit/>
          </a:bodyPr>
          <a:lstStyle/>
          <a:p>
            <a:r>
              <a:rPr lang="en" sz="6533"/>
              <a:t>Vacant Positions</a:t>
            </a:r>
            <a:r>
              <a:rPr lang="en"/>
              <a:t> </a:t>
            </a:r>
            <a:endParaRPr>
              <a:solidFill>
                <a:schemeClr val="dk2"/>
              </a:solidFill>
            </a:endParaRPr>
          </a:p>
        </p:txBody>
      </p:sp>
      <p:sp>
        <p:nvSpPr>
          <p:cNvPr id="493" name="Google Shape;493;p35"/>
          <p:cNvSpPr txBox="1"/>
          <p:nvPr/>
        </p:nvSpPr>
        <p:spPr>
          <a:xfrm>
            <a:off x="616533" y="1958601"/>
            <a:ext cx="10858400" cy="4227592"/>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Commissioner of Design and Marketing </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Senator at Large for STEM</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Senator at Large for Humanities/Social Sciences</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Senator at Large for Business, Design and Workforce </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Senator at Large for Kinesiology, Athletics and Dance </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50000"/>
              </a:lnSpc>
              <a:spcBef>
                <a:spcPts val="0"/>
              </a:spcBef>
              <a:spcAft>
                <a:spcPts val="0"/>
              </a:spcAft>
              <a:buClr>
                <a:srgbClr val="000000"/>
              </a:buClr>
              <a:buSzTx/>
              <a:buFontTx/>
              <a:buNone/>
              <a:tabLst/>
              <a:defRPr/>
            </a:pPr>
            <a:r>
              <a:rPr kumimoji="0" lang="en" sz="2667" b="0" i="0" u="none" strike="noStrike" kern="0" cap="none" spc="0" normalizeH="0" baseline="0" noProof="0">
                <a:ln>
                  <a:noFill/>
                </a:ln>
                <a:solidFill>
                  <a:srgbClr val="627F4C"/>
                </a:solidFill>
                <a:effectLst/>
                <a:uLnTx/>
                <a:uFillTx/>
                <a:latin typeface="Roboto"/>
                <a:ea typeface="Roboto"/>
                <a:cs typeface="Roboto"/>
                <a:sym typeface="Roboto"/>
              </a:rPr>
              <a:t>Up to 17 Senators</a:t>
            </a:r>
            <a:endParaRPr kumimoji="0" sz="2667" b="0" i="0" u="none" strike="noStrike" kern="0" cap="none" spc="0" normalizeH="0" baseline="0" noProof="0">
              <a:ln>
                <a:noFill/>
              </a:ln>
              <a:solidFill>
                <a:srgbClr val="627F4C"/>
              </a:solidFill>
              <a:effectLst/>
              <a:uLnTx/>
              <a:uFillTx/>
              <a:latin typeface="Roboto"/>
              <a:ea typeface="Roboto"/>
              <a:cs typeface="Roboto"/>
              <a:sym typeface="Roboto"/>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627F4C"/>
              </a:solidFill>
              <a:effectLst/>
              <a:uLnTx/>
              <a:uFillTx/>
              <a:latin typeface="Roboto"/>
              <a:ea typeface="Roboto"/>
              <a:cs typeface="Roboto"/>
              <a:sym typeface="Roboto"/>
            </a:endParaRPr>
          </a:p>
        </p:txBody>
      </p:sp>
    </p:spTree>
    <p:extLst>
      <p:ext uri="{BB962C8B-B14F-4D97-AF65-F5344CB8AC3E}">
        <p14:creationId xmlns:p14="http://schemas.microsoft.com/office/powerpoint/2010/main" val="34028557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97"/>
        <p:cNvGrpSpPr/>
        <p:nvPr/>
      </p:nvGrpSpPr>
      <p:grpSpPr>
        <a:xfrm>
          <a:off x="0" y="0"/>
          <a:ext cx="0" cy="0"/>
          <a:chOff x="0" y="0"/>
          <a:chExt cx="0" cy="0"/>
        </a:xfrm>
      </p:grpSpPr>
      <p:sp>
        <p:nvSpPr>
          <p:cNvPr id="498" name="Google Shape;498;p36"/>
          <p:cNvSpPr txBox="1">
            <a:spLocks noGrp="1"/>
          </p:cNvSpPr>
          <p:nvPr>
            <p:ph type="body" idx="1"/>
          </p:nvPr>
        </p:nvSpPr>
        <p:spPr>
          <a:xfrm>
            <a:off x="952200" y="4380284"/>
            <a:ext cx="10287600" cy="485200"/>
          </a:xfrm>
          <a:prstGeom prst="rect">
            <a:avLst/>
          </a:prstGeom>
        </p:spPr>
        <p:txBody>
          <a:bodyPr spcFirstLastPara="1" wrap="square" lIns="121900" tIns="121900" rIns="121900" bIns="121900" anchor="t" anchorCtr="0">
            <a:noAutofit/>
          </a:bodyPr>
          <a:lstStyle/>
          <a:p>
            <a:pPr marL="0" indent="0" algn="l">
              <a:buNone/>
            </a:pPr>
            <a:r>
              <a:rPr lang="en"/>
              <a:t> </a:t>
            </a:r>
            <a:endParaRPr/>
          </a:p>
        </p:txBody>
      </p:sp>
      <p:sp>
        <p:nvSpPr>
          <p:cNvPr id="499" name="Google Shape;499;p36"/>
          <p:cNvSpPr txBox="1">
            <a:spLocks noGrp="1"/>
          </p:cNvSpPr>
          <p:nvPr>
            <p:ph type="title"/>
          </p:nvPr>
        </p:nvSpPr>
        <p:spPr>
          <a:xfrm>
            <a:off x="1003500" y="970384"/>
            <a:ext cx="10287600" cy="2194400"/>
          </a:xfrm>
          <a:prstGeom prst="rect">
            <a:avLst/>
          </a:prstGeom>
        </p:spPr>
        <p:txBody>
          <a:bodyPr spcFirstLastPara="1" wrap="square" lIns="121900" tIns="121900" rIns="121900" bIns="121900" anchor="ctr" anchorCtr="0">
            <a:noAutofit/>
          </a:bodyPr>
          <a:lstStyle/>
          <a:p>
            <a:r>
              <a:rPr lang="en"/>
              <a:t>Thank you </a:t>
            </a:r>
            <a:endParaRPr/>
          </a:p>
        </p:txBody>
      </p:sp>
      <p:pic>
        <p:nvPicPr>
          <p:cNvPr id="500" name="Google Shape;500;p36"/>
          <p:cNvPicPr preferRelativeResize="0"/>
          <p:nvPr/>
        </p:nvPicPr>
        <p:blipFill>
          <a:blip r:embed="rId3">
            <a:alphaModFix/>
          </a:blip>
          <a:stretch>
            <a:fillRect/>
          </a:stretch>
        </p:blipFill>
        <p:spPr>
          <a:xfrm>
            <a:off x="4661400" y="3164785"/>
            <a:ext cx="2971800" cy="2730500"/>
          </a:xfrm>
          <a:prstGeom prst="rect">
            <a:avLst/>
          </a:prstGeom>
          <a:noFill/>
          <a:ln>
            <a:noFill/>
          </a:ln>
        </p:spPr>
      </p:pic>
    </p:spTree>
    <p:extLst>
      <p:ext uri="{BB962C8B-B14F-4D97-AF65-F5344CB8AC3E}">
        <p14:creationId xmlns:p14="http://schemas.microsoft.com/office/powerpoint/2010/main" val="288030780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amp;A</a:t>
            </a:r>
            <a:endParaRPr lang="en-US" dirty="0"/>
          </a:p>
        </p:txBody>
      </p:sp>
    </p:spTree>
    <p:extLst>
      <p:ext uri="{BB962C8B-B14F-4D97-AF65-F5344CB8AC3E}">
        <p14:creationId xmlns:p14="http://schemas.microsoft.com/office/powerpoint/2010/main" val="42927429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lcome &amp; Introductions</a:t>
            </a:r>
          </a:p>
        </p:txBody>
      </p:sp>
      <p:sp>
        <p:nvSpPr>
          <p:cNvPr id="5" name="TextBox 4"/>
          <p:cNvSpPr txBox="1"/>
          <p:nvPr/>
        </p:nvSpPr>
        <p:spPr>
          <a:xfrm>
            <a:off x="6605502" y="4761997"/>
            <a:ext cx="1994777" cy="107721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Kim Lopez</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Interim Presid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Cañada College</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53925" y="2074640"/>
            <a:ext cx="2460165" cy="3685748"/>
          </a:xfrm>
          <a:prstGeom prst="rect">
            <a:avLst/>
          </a:prstGeom>
        </p:spPr>
      </p:pic>
    </p:spTree>
    <p:extLst>
      <p:ext uri="{BB962C8B-B14F-4D97-AF65-F5344CB8AC3E}">
        <p14:creationId xmlns:p14="http://schemas.microsoft.com/office/powerpoint/2010/main" val="7302517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0-21 Highlights and Progress</a:t>
            </a:r>
          </a:p>
        </p:txBody>
      </p:sp>
      <p:graphicFrame>
        <p:nvGraphicFramePr>
          <p:cNvPr id="4" name="Table 3"/>
          <p:cNvGraphicFramePr>
            <a:graphicFrameLocks noGrp="1"/>
          </p:cNvGraphicFramePr>
          <p:nvPr>
            <p:extLst/>
          </p:nvPr>
        </p:nvGraphicFramePr>
        <p:xfrm>
          <a:off x="2098307" y="4743026"/>
          <a:ext cx="8912994" cy="1341120"/>
        </p:xfrm>
        <a:graphic>
          <a:graphicData uri="http://schemas.openxmlformats.org/drawingml/2006/table">
            <a:tbl>
              <a:tblPr>
                <a:tableStyleId>{5C22544A-7EE6-4342-B048-85BDC9FD1C3A}</a:tableStyleId>
              </a:tblPr>
              <a:tblGrid>
                <a:gridCol w="4456497">
                  <a:extLst>
                    <a:ext uri="{9D8B030D-6E8A-4147-A177-3AD203B41FA5}">
                      <a16:colId xmlns:a16="http://schemas.microsoft.com/office/drawing/2014/main" val="2445603517"/>
                    </a:ext>
                  </a:extLst>
                </a:gridCol>
                <a:gridCol w="4456497">
                  <a:extLst>
                    <a:ext uri="{9D8B030D-6E8A-4147-A177-3AD203B41FA5}">
                      <a16:colId xmlns:a16="http://schemas.microsoft.com/office/drawing/2014/main" val="3489188181"/>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David Eck</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Academic Senate Presiden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Professor, Philosophy</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Roslind Young</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Classified Senate Presiden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Lab Technician (Sciences)</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6" name="Picture 2" descr="Thumbnail for Eck, David"/>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87240" y="1958040"/>
            <a:ext cx="2491371" cy="249137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6631806" y="2059806"/>
            <a:ext cx="22330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Insert photo of Roz</a:t>
            </a:r>
          </a:p>
        </p:txBody>
      </p:sp>
      <p:pic>
        <p:nvPicPr>
          <p:cNvPr id="8" name="id-0A728FC4-FDAE-49A6-A161-8402361E4DBE" descr="Image.jpeg">
            <a:extLst>
              <a:ext uri="{FF2B5EF4-FFF2-40B4-BE49-F238E27FC236}">
                <a16:creationId xmlns:a16="http://schemas.microsoft.com/office/drawing/2014/main" id="{420B33EA-42AD-4CD7-922C-05F33970378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392"/>
          <a:stretch/>
        </p:blipFill>
        <p:spPr bwMode="auto">
          <a:xfrm>
            <a:off x="6733212" y="1958040"/>
            <a:ext cx="2492382" cy="249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56553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tal graduates:  2020-21</a:t>
            </a:r>
            <a:endParaRPr lang="en-US" dirty="0"/>
          </a:p>
        </p:txBody>
      </p:sp>
      <p:graphicFrame>
        <p:nvGraphicFramePr>
          <p:cNvPr id="4" name="Chart 3"/>
          <p:cNvGraphicFramePr>
            <a:graphicFrameLocks/>
          </p:cNvGraphicFramePr>
          <p:nvPr>
            <p:custDataLst>
              <p:tags r:id="rId1"/>
            </p:custDataLst>
            <p:extLst/>
          </p:nvPr>
        </p:nvGraphicFramePr>
        <p:xfrm>
          <a:off x="838200" y="1690688"/>
          <a:ext cx="10515600" cy="439332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99321" y="6410921"/>
            <a:ext cx="1189267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Calibri" panose="020F0502020204030204"/>
                <a:ea typeface="+mn-ea"/>
                <a:cs typeface="+mn-cs"/>
              </a:rPr>
              <a:t>Note:  The number of degree and certificate awards for 2020-21 are not yet final.  Some award petitions are still under review.  Therefore the number of graduates may still change slightly.  </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87947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565" y="798786"/>
            <a:ext cx="4588371" cy="970450"/>
          </a:xfrm>
        </p:spPr>
        <p:txBody>
          <a:bodyPr/>
          <a:lstStyle/>
          <a:p>
            <a:r>
              <a:rPr lang="en-US" dirty="0" smtClean="0"/>
              <a:t>Degree Awards</a:t>
            </a:r>
            <a:endParaRPr lang="en-US" dirty="0"/>
          </a:p>
        </p:txBody>
      </p:sp>
      <p:graphicFrame>
        <p:nvGraphicFramePr>
          <p:cNvPr id="3" name="Chart 2"/>
          <p:cNvGraphicFramePr>
            <a:graphicFrameLocks/>
          </p:cNvGraphicFramePr>
          <p:nvPr>
            <p:custDataLst>
              <p:tags r:id="rId1"/>
            </p:custDataLst>
            <p:extLst/>
          </p:nvPr>
        </p:nvGraphicFramePr>
        <p:xfrm>
          <a:off x="646386" y="2199291"/>
          <a:ext cx="5060731" cy="39256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p:cNvGraphicFramePr>
            <a:graphicFrameLocks/>
          </p:cNvGraphicFramePr>
          <p:nvPr>
            <p:custDataLst>
              <p:tags r:id="rId2"/>
            </p:custDataLst>
            <p:extLst/>
          </p:nvPr>
        </p:nvGraphicFramePr>
        <p:xfrm>
          <a:off x="6174828" y="2088931"/>
          <a:ext cx="5381296" cy="3947398"/>
        </p:xfrm>
        <a:graphic>
          <a:graphicData uri="http://schemas.openxmlformats.org/drawingml/2006/chart">
            <c:chart xmlns:c="http://schemas.openxmlformats.org/drawingml/2006/chart" xmlns:r="http://schemas.openxmlformats.org/officeDocument/2006/relationships" r:id="rId5"/>
          </a:graphicData>
        </a:graphic>
      </p:graphicFrame>
      <p:sp>
        <p:nvSpPr>
          <p:cNvPr id="6" name="Title 1"/>
          <p:cNvSpPr txBox="1">
            <a:spLocks/>
          </p:cNvSpPr>
          <p:nvPr/>
        </p:nvSpPr>
        <p:spPr>
          <a:xfrm>
            <a:off x="6571290" y="798786"/>
            <a:ext cx="4588371"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smtClean="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j-ea"/>
              </a:rPr>
              <a:t>Certificate Awards</a:t>
            </a:r>
            <a:endParaRPr kumimoji="0" lang="en-US" sz="4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j-ea"/>
            </a:endParaRPr>
          </a:p>
        </p:txBody>
      </p:sp>
    </p:spTree>
    <p:extLst>
      <p:ext uri="{BB962C8B-B14F-4D97-AF65-F5344CB8AC3E}">
        <p14:creationId xmlns:p14="http://schemas.microsoft.com/office/powerpoint/2010/main" val="35075048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 y="-1"/>
          <a:ext cx="12192002" cy="6857997"/>
        </p:xfrm>
        <a:graphic>
          <a:graphicData uri="http://schemas.openxmlformats.org/drawingml/2006/table">
            <a:tbl>
              <a:tblPr>
                <a:tableStyleId>{5C22544A-7EE6-4342-B048-85BDC9FD1C3A}</a:tableStyleId>
              </a:tblPr>
              <a:tblGrid>
                <a:gridCol w="3397719">
                  <a:extLst>
                    <a:ext uri="{9D8B030D-6E8A-4147-A177-3AD203B41FA5}">
                      <a16:colId xmlns:a16="http://schemas.microsoft.com/office/drawing/2014/main" val="1999275627"/>
                    </a:ext>
                  </a:extLst>
                </a:gridCol>
                <a:gridCol w="2358189">
                  <a:extLst>
                    <a:ext uri="{9D8B030D-6E8A-4147-A177-3AD203B41FA5}">
                      <a16:colId xmlns:a16="http://schemas.microsoft.com/office/drawing/2014/main" val="1565600660"/>
                    </a:ext>
                  </a:extLst>
                </a:gridCol>
                <a:gridCol w="6436094">
                  <a:extLst>
                    <a:ext uri="{9D8B030D-6E8A-4147-A177-3AD203B41FA5}">
                      <a16:colId xmlns:a16="http://schemas.microsoft.com/office/drawing/2014/main" val="2762839572"/>
                    </a:ext>
                  </a:extLst>
                </a:gridCol>
              </a:tblGrid>
              <a:tr h="994761">
                <a:tc>
                  <a:txBody>
                    <a:bodyPr/>
                    <a:lstStyle/>
                    <a:p>
                      <a:pPr algn="ctr" fontAlgn="ctr"/>
                      <a:r>
                        <a:rPr lang="en-US" sz="2800" b="1" i="0" u="none" strike="noStrike" dirty="0" smtClean="0">
                          <a:solidFill>
                            <a:srgbClr val="FFFFFF"/>
                          </a:solidFill>
                          <a:effectLst/>
                          <a:latin typeface="Calibri" panose="020F0502020204030204" pitchFamily="34" charset="0"/>
                        </a:rPr>
                        <a:t>2020-21</a:t>
                      </a:r>
                      <a:r>
                        <a:rPr lang="en-US" sz="2800" b="1" i="0" u="none" strike="noStrike" baseline="0" dirty="0" smtClean="0">
                          <a:solidFill>
                            <a:srgbClr val="FFFFFF"/>
                          </a:solidFill>
                          <a:effectLst/>
                          <a:latin typeface="Calibri" panose="020F0502020204030204" pitchFamily="34" charset="0"/>
                        </a:rPr>
                        <a:t> Priority </a:t>
                      </a:r>
                    </a:p>
                  </a:txBody>
                  <a:tcPr marL="6350" marR="6350" marT="6350" marB="0" anchor="ctr">
                    <a:solidFill>
                      <a:srgbClr val="006342"/>
                    </a:solidFill>
                  </a:tcPr>
                </a:tc>
                <a:tc>
                  <a:txBody>
                    <a:bodyPr/>
                    <a:lstStyle/>
                    <a:p>
                      <a:pPr algn="ctr" fontAlgn="ctr"/>
                      <a:r>
                        <a:rPr lang="en-US" sz="2800" b="1" i="0" u="none" strike="noStrike" dirty="0" smtClean="0">
                          <a:solidFill>
                            <a:srgbClr val="FFFFFF"/>
                          </a:solidFill>
                          <a:effectLst/>
                          <a:latin typeface="Calibri" panose="020F0502020204030204" pitchFamily="34" charset="0"/>
                        </a:rPr>
                        <a:t>Status</a:t>
                      </a:r>
                      <a:endParaRPr lang="en-US" sz="2800" b="1" i="0" u="none" strike="noStrike" dirty="0">
                        <a:solidFill>
                          <a:srgbClr val="FFFFFF"/>
                        </a:solidFill>
                        <a:effectLst/>
                        <a:latin typeface="Calibri" panose="020F0502020204030204" pitchFamily="34" charset="0"/>
                      </a:endParaRPr>
                    </a:p>
                  </a:txBody>
                  <a:tcPr marL="6350" marR="6350" marT="6350" marB="0" anchor="ctr">
                    <a:solidFill>
                      <a:srgbClr val="006342"/>
                    </a:solidFill>
                  </a:tcPr>
                </a:tc>
                <a:tc>
                  <a:txBody>
                    <a:bodyPr/>
                    <a:lstStyle/>
                    <a:p>
                      <a:pPr algn="ctr" fontAlgn="ctr"/>
                      <a:r>
                        <a:rPr lang="en-US" sz="2800" b="1" i="0" u="none" strike="noStrike" dirty="0" smtClean="0">
                          <a:solidFill>
                            <a:srgbClr val="FFFFFF"/>
                          </a:solidFill>
                          <a:effectLst/>
                          <a:latin typeface="Calibri" panose="020F0502020204030204" pitchFamily="34" charset="0"/>
                        </a:rPr>
                        <a:t>Highlighted Accomplishments</a:t>
                      </a:r>
                      <a:endParaRPr lang="en-US" sz="2800" b="1" i="0" u="none" strike="noStrike" dirty="0">
                        <a:solidFill>
                          <a:srgbClr val="FFFFFF"/>
                        </a:solidFill>
                        <a:effectLst/>
                        <a:latin typeface="Calibri" panose="020F0502020204030204" pitchFamily="34" charset="0"/>
                      </a:endParaRPr>
                    </a:p>
                  </a:txBody>
                  <a:tcPr marL="6350" marR="6350" marT="6350" marB="0" anchor="ctr">
                    <a:solidFill>
                      <a:srgbClr val="006342"/>
                    </a:solidFill>
                  </a:tcPr>
                </a:tc>
                <a:extLst>
                  <a:ext uri="{0D108BD9-81ED-4DB2-BD59-A6C34878D82A}">
                    <a16:rowId xmlns:a16="http://schemas.microsoft.com/office/drawing/2014/main" val="461018993"/>
                  </a:ext>
                </a:extLst>
              </a:tr>
              <a:tr h="977206">
                <a:tc>
                  <a:txBody>
                    <a:bodyPr/>
                    <a:lstStyle/>
                    <a:p>
                      <a:pPr algn="l" fontAlgn="ctr"/>
                      <a:r>
                        <a:rPr lang="en-US" sz="2000" u="none" strike="noStrike" dirty="0" smtClean="0">
                          <a:effectLst/>
                        </a:rPr>
                        <a:t>Improve Student Completion</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CRM live for counseling. All support services now online.</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788878336"/>
                  </a:ext>
                </a:extLst>
              </a:tr>
              <a:tr h="977206">
                <a:tc>
                  <a:txBody>
                    <a:bodyPr/>
                    <a:lstStyle/>
                    <a:p>
                      <a:pPr algn="l" fontAlgn="ctr"/>
                      <a:r>
                        <a:rPr lang="en-US" sz="2000" u="none" strike="noStrike" dirty="0" smtClean="0">
                          <a:effectLst/>
                        </a:rPr>
                        <a:t>K-12 &amp;</a:t>
                      </a:r>
                      <a:r>
                        <a:rPr lang="en-US" sz="2000" u="none" strike="noStrike" baseline="0" dirty="0" smtClean="0">
                          <a:effectLst/>
                        </a:rPr>
                        <a:t> Adult School Partnerships</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baseline="0" dirty="0" smtClean="0">
                          <a:solidFill>
                            <a:schemeClr val="bg1"/>
                          </a:solidFill>
                          <a:effectLst/>
                          <a:latin typeface="Calibri" panose="020F0502020204030204" pitchFamily="34" charset="0"/>
                          <a:ea typeface="+mn-ea"/>
                          <a:cs typeface="+mn-cs"/>
                        </a:rPr>
                        <a:t>Two CRER and 3 ECE sections will be offered at high schools this fall.</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3819881888"/>
                  </a:ext>
                </a:extLst>
              </a:tr>
              <a:tr h="977206">
                <a:tc>
                  <a:txBody>
                    <a:bodyPr/>
                    <a:lstStyle/>
                    <a:p>
                      <a:pPr algn="l" fontAlgn="ctr"/>
                      <a:r>
                        <a:rPr lang="en-US" sz="2000" u="none" strike="noStrike" dirty="0" smtClean="0">
                          <a:effectLst/>
                        </a:rPr>
                        <a:t>Enhance Marketing </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Student-led website redesign.</a:t>
                      </a:r>
                      <a:r>
                        <a:rPr lang="en-US" sz="1800" b="0" i="0" u="none" strike="noStrike" kern="1200" baseline="0" dirty="0" smtClean="0">
                          <a:solidFill>
                            <a:schemeClr val="bg1"/>
                          </a:solidFill>
                          <a:effectLst/>
                          <a:latin typeface="Calibri" panose="020F0502020204030204" pitchFamily="34" charset="0"/>
                          <a:ea typeface="+mn-ea"/>
                          <a:cs typeface="+mn-cs"/>
                        </a:rPr>
                        <a:t>  Enrollment campaigns in two languages.</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1956296287"/>
                  </a:ext>
                </a:extLst>
              </a:tr>
              <a:tr h="977206">
                <a:tc>
                  <a:txBody>
                    <a:bodyPr/>
                    <a:lstStyle/>
                    <a:p>
                      <a:pPr algn="l" fontAlgn="ctr"/>
                      <a:r>
                        <a:rPr lang="en-US" sz="2000" u="none" strike="noStrike" dirty="0" smtClean="0">
                          <a:effectLst/>
                        </a:rPr>
                        <a:t>Implement</a:t>
                      </a:r>
                      <a:r>
                        <a:rPr lang="en-US" sz="2000" u="none" strike="noStrike" baseline="0" dirty="0" smtClean="0">
                          <a:effectLst/>
                        </a:rPr>
                        <a:t> Professional Learning Plan</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72 faculty completed QOTL.  21 faculty and staff participated</a:t>
                      </a:r>
                      <a:r>
                        <a:rPr lang="en-US" sz="1800" b="0" i="0" u="none" strike="noStrike" kern="1200" baseline="0" dirty="0" smtClean="0">
                          <a:solidFill>
                            <a:schemeClr val="bg1"/>
                          </a:solidFill>
                          <a:effectLst/>
                          <a:latin typeface="Calibri" panose="020F0502020204030204" pitchFamily="34" charset="0"/>
                          <a:ea typeface="+mn-ea"/>
                          <a:cs typeface="+mn-cs"/>
                        </a:rPr>
                        <a:t> in USC Racial Equity Alliance e-</a:t>
                      </a:r>
                      <a:r>
                        <a:rPr lang="en-US" sz="1800" b="0" i="0" u="none" strike="noStrike" kern="1200" baseline="0" dirty="0" err="1" smtClean="0">
                          <a:solidFill>
                            <a:schemeClr val="bg1"/>
                          </a:solidFill>
                          <a:effectLst/>
                          <a:latin typeface="Calibri" panose="020F0502020204030204" pitchFamily="34" charset="0"/>
                          <a:ea typeface="+mn-ea"/>
                          <a:cs typeface="+mn-cs"/>
                        </a:rPr>
                        <a:t>convenings</a:t>
                      </a:r>
                      <a:r>
                        <a:rPr lang="en-US" sz="1800" b="0" i="0" u="none" strike="noStrike" kern="1200" baseline="0" dirty="0" smtClean="0">
                          <a:solidFill>
                            <a:schemeClr val="bg1"/>
                          </a:solidFill>
                          <a:effectLst/>
                          <a:latin typeface="Calibri" panose="020F0502020204030204" pitchFamily="34" charset="0"/>
                          <a:ea typeface="+mn-ea"/>
                          <a:cs typeface="+mn-cs"/>
                        </a:rPr>
                        <a:t> and shared learnings at Flex. CORA Learning.</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2824759583"/>
                  </a:ext>
                </a:extLst>
              </a:tr>
              <a:tr h="977206">
                <a:tc>
                  <a:txBody>
                    <a:bodyPr/>
                    <a:lstStyle/>
                    <a:p>
                      <a:pPr algn="l" fontAlgn="ctr"/>
                      <a:r>
                        <a:rPr lang="en-US" sz="2000" u="none" strike="noStrike" dirty="0" smtClean="0">
                          <a:effectLst/>
                        </a:rPr>
                        <a:t>Promote a Climate of Inclusivity</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Monthly Community</a:t>
                      </a:r>
                      <a:r>
                        <a:rPr lang="en-US" sz="1800" b="0" i="0" u="none" strike="noStrike" kern="1200" baseline="0" dirty="0" smtClean="0">
                          <a:solidFill>
                            <a:schemeClr val="bg1"/>
                          </a:solidFill>
                          <a:effectLst/>
                          <a:latin typeface="Calibri" panose="020F0502020204030204" pitchFamily="34" charset="0"/>
                          <a:ea typeface="+mn-ea"/>
                          <a:cs typeface="+mn-cs"/>
                        </a:rPr>
                        <a:t> Read events. New Employee Orientation.  Interest Area Success Team pilot.</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3765900898"/>
                  </a:ext>
                </a:extLst>
              </a:tr>
              <a:tr h="977206">
                <a:tc>
                  <a:txBody>
                    <a:bodyPr/>
                    <a:lstStyle/>
                    <a:p>
                      <a:pPr algn="l" fontAlgn="ctr"/>
                      <a:r>
                        <a:rPr lang="en-US" sz="2000" u="none" strike="noStrike" dirty="0" smtClean="0">
                          <a:effectLst/>
                        </a:rPr>
                        <a:t>Institutionalize Effective Structures to Reduce Obligation</a:t>
                      </a:r>
                      <a:r>
                        <a:rPr lang="en-US" sz="2000" u="none" strike="noStrike" baseline="0" dirty="0" smtClean="0">
                          <a:effectLst/>
                        </a:rPr>
                        <a:t> Gaps</a:t>
                      </a:r>
                      <a:endParaRPr lang="en-US" sz="2000" b="0" i="0" u="none" strike="noStrike" dirty="0">
                        <a:solidFill>
                          <a:srgbClr val="FFFFFF"/>
                        </a:solidFill>
                        <a:effectLst/>
                        <a:latin typeface="Calibri" panose="020F0502020204030204" pitchFamily="34" charset="0"/>
                      </a:endParaRPr>
                    </a:p>
                  </a:txBody>
                  <a:tcPr marL="182880" marR="6350" marT="6350" marB="0" anchor="ctr">
                    <a:solidFill>
                      <a:schemeClr val="tx1"/>
                    </a:solidFill>
                  </a:tcPr>
                </a:tc>
                <a:tc>
                  <a:txBody>
                    <a:bodyPr/>
                    <a:lstStyle/>
                    <a:p>
                      <a:pPr algn="l" fontAlgn="ctr"/>
                      <a:endParaRPr lang="en-US" sz="1800" b="0" i="0" u="none" strike="noStrike" dirty="0">
                        <a:solidFill>
                          <a:srgbClr val="FFFFFF"/>
                        </a:solidFill>
                        <a:effectLst/>
                        <a:latin typeface="Calibri" panose="020F0502020204030204" pitchFamily="34" charset="0"/>
                      </a:endParaRPr>
                    </a:p>
                  </a:txBody>
                  <a:tcPr marL="6350" marR="6350" marT="6350" marB="0" anchor="ctr">
                    <a:solidFill>
                      <a:schemeClr val="tx1"/>
                    </a:solidFill>
                  </a:tcPr>
                </a:tc>
                <a:tc>
                  <a:txBody>
                    <a:bodyPr/>
                    <a:lstStyle/>
                    <a:p>
                      <a:pPr algn="l" fontAlgn="ctr"/>
                      <a:r>
                        <a:rPr lang="en-US" sz="1800" b="0" i="0" u="none" strike="noStrike" kern="1200" dirty="0" smtClean="0">
                          <a:solidFill>
                            <a:schemeClr val="bg1"/>
                          </a:solidFill>
                          <a:effectLst/>
                          <a:latin typeface="Calibri" panose="020F0502020204030204" pitchFamily="34" charset="0"/>
                          <a:ea typeface="+mn-ea"/>
                          <a:cs typeface="+mn-cs"/>
                        </a:rPr>
                        <a:t>Interest</a:t>
                      </a:r>
                      <a:r>
                        <a:rPr lang="en-US" sz="1800" b="0" i="0" u="none" strike="noStrike" kern="1200" baseline="0" dirty="0" smtClean="0">
                          <a:solidFill>
                            <a:schemeClr val="bg1"/>
                          </a:solidFill>
                          <a:effectLst/>
                          <a:latin typeface="Calibri" panose="020F0502020204030204" pitchFamily="34" charset="0"/>
                          <a:ea typeface="+mn-ea"/>
                          <a:cs typeface="+mn-cs"/>
                        </a:rPr>
                        <a:t> Area Success Team pilot.  Colts Con expansion.  Retention Specialists formed a “community of practice” to align supports.</a:t>
                      </a:r>
                      <a:endParaRPr lang="en-US" sz="1800" b="0" i="0" u="none" strike="noStrike" kern="1200" dirty="0">
                        <a:solidFill>
                          <a:schemeClr val="bg1"/>
                        </a:solidFill>
                        <a:effectLst/>
                        <a:latin typeface="Calibri" panose="020F0502020204030204" pitchFamily="34" charset="0"/>
                        <a:ea typeface="+mn-ea"/>
                        <a:cs typeface="+mn-cs"/>
                      </a:endParaRPr>
                    </a:p>
                  </a:txBody>
                  <a:tcPr marL="182880" marR="6350" marT="6350" marB="0" anchor="ctr">
                    <a:solidFill>
                      <a:schemeClr val="tx1"/>
                    </a:solidFill>
                  </a:tcPr>
                </a:tc>
                <a:extLst>
                  <a:ext uri="{0D108BD9-81ED-4DB2-BD59-A6C34878D82A}">
                    <a16:rowId xmlns:a16="http://schemas.microsoft.com/office/drawing/2014/main" val="4242720752"/>
                  </a:ext>
                </a:extLst>
              </a:tr>
            </a:tbl>
          </a:graphicData>
        </a:graphic>
      </p:graphicFrame>
      <p:graphicFrame>
        <p:nvGraphicFramePr>
          <p:cNvPr id="12" name="Chart 11"/>
          <p:cNvGraphicFramePr>
            <a:graphicFrameLocks/>
          </p:cNvGraphicFramePr>
          <p:nvPr>
            <p:custDataLst>
              <p:tags r:id="rId1"/>
            </p:custDataLst>
            <p:extLst/>
          </p:nvPr>
        </p:nvGraphicFramePr>
        <p:xfrm>
          <a:off x="3609474" y="1946187"/>
          <a:ext cx="2024912" cy="11242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nvPr>
        </p:nvGraphicFramePr>
        <p:xfrm>
          <a:off x="3815212" y="1016901"/>
          <a:ext cx="1613435" cy="114149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extLst/>
          </p:nvPr>
        </p:nvGraphicFramePr>
        <p:xfrm>
          <a:off x="3815212" y="3821622"/>
          <a:ext cx="1613435" cy="114149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p:cNvGraphicFramePr>
            <a:graphicFrameLocks/>
          </p:cNvGraphicFramePr>
          <p:nvPr>
            <p:extLst/>
          </p:nvPr>
        </p:nvGraphicFramePr>
        <p:xfrm>
          <a:off x="3815212" y="4769061"/>
          <a:ext cx="1613435" cy="11414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p:cNvGraphicFramePr>
            <a:graphicFrameLocks/>
          </p:cNvGraphicFramePr>
          <p:nvPr>
            <p:extLst/>
          </p:nvPr>
        </p:nvGraphicFramePr>
        <p:xfrm>
          <a:off x="3815211" y="5732434"/>
          <a:ext cx="1613435" cy="11414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hart 14"/>
          <p:cNvGraphicFramePr>
            <a:graphicFrameLocks/>
          </p:cNvGraphicFramePr>
          <p:nvPr>
            <p:extLst/>
          </p:nvPr>
        </p:nvGraphicFramePr>
        <p:xfrm>
          <a:off x="3669428" y="2790816"/>
          <a:ext cx="1905000" cy="120015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588110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3795" y="231237"/>
            <a:ext cx="10353762" cy="970450"/>
          </a:xfrm>
        </p:spPr>
        <p:txBody>
          <a:bodyPr/>
          <a:lstStyle/>
          <a:p>
            <a:r>
              <a:rPr lang="en-US" dirty="0"/>
              <a:t>Additional Highlights</a:t>
            </a:r>
          </a:p>
        </p:txBody>
      </p:sp>
      <p:sp>
        <p:nvSpPr>
          <p:cNvPr id="3" name="Content Placeholder 2"/>
          <p:cNvSpPr>
            <a:spLocks noGrp="1"/>
          </p:cNvSpPr>
          <p:nvPr>
            <p:ph idx="1"/>
          </p:nvPr>
        </p:nvSpPr>
        <p:spPr>
          <a:xfrm>
            <a:off x="913794" y="1271752"/>
            <a:ext cx="10668605" cy="5328745"/>
          </a:xfrm>
        </p:spPr>
        <p:txBody>
          <a:bodyPr>
            <a:normAutofit fontScale="92500" lnSpcReduction="20000"/>
          </a:bodyPr>
          <a:lstStyle/>
          <a:p>
            <a:r>
              <a:rPr lang="en-US" sz="3600" b="1" dirty="0"/>
              <a:t>Ethnic Studies program</a:t>
            </a:r>
          </a:p>
          <a:p>
            <a:pPr lvl="1"/>
            <a:r>
              <a:rPr lang="en-US" sz="3000" dirty="0"/>
              <a:t>All submitted courses were transfer approved </a:t>
            </a:r>
          </a:p>
          <a:p>
            <a:pPr lvl="1"/>
            <a:r>
              <a:rPr lang="en-US" sz="3000" dirty="0"/>
              <a:t>FT Faculty search re-starting this Fall semester</a:t>
            </a:r>
          </a:p>
          <a:p>
            <a:pPr lvl="1"/>
            <a:r>
              <a:rPr lang="en-US" sz="3000" dirty="0"/>
              <a:t>Special thanks to Profs. Gaines, Iyenagar, Ware, Palmer, and Tedone-Goldstone. And also to former President Moore and VPAS Mendoza. </a:t>
            </a:r>
          </a:p>
          <a:p>
            <a:r>
              <a:rPr lang="en-US" sz="3600" b="1" dirty="0" err="1"/>
              <a:t>Umoja</a:t>
            </a:r>
            <a:r>
              <a:rPr lang="en-US" sz="3600" b="1" dirty="0"/>
              <a:t> program</a:t>
            </a:r>
          </a:p>
          <a:p>
            <a:pPr lvl="1"/>
            <a:r>
              <a:rPr lang="en-US" sz="3000" dirty="0"/>
              <a:t>Flex Day session (August 17, 1-2:30pm): Tom Dewit on “How to Umoja-ify Your Teaching”</a:t>
            </a:r>
          </a:p>
          <a:p>
            <a:pPr lvl="1"/>
            <a:r>
              <a:rPr lang="en-US" sz="3000" dirty="0"/>
              <a:t>Special thanks to Profs. Ware, Hoffman</a:t>
            </a:r>
            <a:r>
              <a:rPr lang="en-US" sz="3000"/>
              <a:t>, </a:t>
            </a:r>
            <a:r>
              <a:rPr lang="en-US" sz="3000" smtClean="0"/>
              <a:t>Terzakis, and </a:t>
            </a:r>
            <a:r>
              <a:rPr lang="en-US" sz="3000" dirty="0"/>
              <a:t>Aranyukal. And also to Dean Carranza and VPI Robinson.</a:t>
            </a:r>
          </a:p>
          <a:p>
            <a:pPr lvl="1"/>
            <a:endParaRPr lang="en-US" sz="3000" dirty="0"/>
          </a:p>
        </p:txBody>
      </p:sp>
    </p:spTree>
    <p:extLst>
      <p:ext uri="{BB962C8B-B14F-4D97-AF65-F5344CB8AC3E}">
        <p14:creationId xmlns:p14="http://schemas.microsoft.com/office/powerpoint/2010/main" val="11628711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REAK</a:t>
            </a:r>
          </a:p>
        </p:txBody>
      </p:sp>
      <p:sp>
        <p:nvSpPr>
          <p:cNvPr id="5" name="Text Placeholder 4"/>
          <p:cNvSpPr>
            <a:spLocks noGrp="1"/>
          </p:cNvSpPr>
          <p:nvPr>
            <p:ph type="body" idx="1"/>
          </p:nvPr>
        </p:nvSpPr>
        <p:spPr/>
        <p:txBody>
          <a:bodyPr/>
          <a:lstStyle/>
          <a:p>
            <a:r>
              <a:rPr lang="en-US" dirty="0"/>
              <a:t>10:15 – 10:30 am</a:t>
            </a:r>
          </a:p>
        </p:txBody>
      </p:sp>
    </p:spTree>
    <p:extLst>
      <p:ext uri="{BB962C8B-B14F-4D97-AF65-F5344CB8AC3E}">
        <p14:creationId xmlns:p14="http://schemas.microsoft.com/office/powerpoint/2010/main" val="23316408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urn &amp; Recovery</a:t>
            </a:r>
          </a:p>
        </p:txBody>
      </p:sp>
      <p:graphicFrame>
        <p:nvGraphicFramePr>
          <p:cNvPr id="4" name="Table 3"/>
          <p:cNvGraphicFramePr>
            <a:graphicFrameLocks noGrp="1"/>
          </p:cNvGraphicFramePr>
          <p:nvPr>
            <p:extLst/>
          </p:nvPr>
        </p:nvGraphicFramePr>
        <p:xfrm>
          <a:off x="664142" y="4868154"/>
          <a:ext cx="11107554" cy="1341120"/>
        </p:xfrm>
        <a:graphic>
          <a:graphicData uri="http://schemas.openxmlformats.org/drawingml/2006/table">
            <a:tbl>
              <a:tblPr>
                <a:tableStyleId>{5C22544A-7EE6-4342-B048-85BDC9FD1C3A}</a:tableStyleId>
              </a:tblPr>
              <a:tblGrid>
                <a:gridCol w="3702518">
                  <a:extLst>
                    <a:ext uri="{9D8B030D-6E8A-4147-A177-3AD203B41FA5}">
                      <a16:colId xmlns:a16="http://schemas.microsoft.com/office/drawing/2014/main" val="2445603517"/>
                    </a:ext>
                  </a:extLst>
                </a:gridCol>
                <a:gridCol w="3702518">
                  <a:extLst>
                    <a:ext uri="{9D8B030D-6E8A-4147-A177-3AD203B41FA5}">
                      <a16:colId xmlns:a16="http://schemas.microsoft.com/office/drawing/2014/main" val="2188556946"/>
                    </a:ext>
                  </a:extLst>
                </a:gridCol>
                <a:gridCol w="3702518">
                  <a:extLst>
                    <a:ext uri="{9D8B030D-6E8A-4147-A177-3AD203B41FA5}">
                      <a16:colId xmlns:a16="http://schemas.microsoft.com/office/drawing/2014/main" val="3489188181"/>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Tammy Robinson</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Vice President of Instruction</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Manuel Alejandro Pérez</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Vice President of </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Student Services</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Graciano Mendoza</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latin typeface="+mn-lt"/>
                          <a:ea typeface="+mn-ea"/>
                          <a:cs typeface="+mn-cs"/>
                        </a:rPr>
                        <a:t>Vice President</a:t>
                      </a:r>
                      <a:r>
                        <a:rPr lang="en-US" sz="2000" b="0" kern="1200" baseline="0" dirty="0">
                          <a:ln>
                            <a:solidFill>
                              <a:schemeClr val="bg1">
                                <a:lumMod val="75000"/>
                                <a:lumOff val="25000"/>
                                <a:alpha val="10000"/>
                              </a:schemeClr>
                            </a:solidFill>
                          </a:ln>
                          <a:solidFill>
                            <a:schemeClr val="tx2"/>
                          </a:solidFill>
                          <a:effectLst/>
                          <a:latin typeface="+mn-lt"/>
                          <a:ea typeface="+mn-ea"/>
                          <a:cs typeface="+mn-cs"/>
                        </a:rPr>
                        <a:t> of </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baseline="0" dirty="0">
                          <a:ln>
                            <a:solidFill>
                              <a:schemeClr val="bg1">
                                <a:lumMod val="75000"/>
                                <a:lumOff val="25000"/>
                                <a:alpha val="10000"/>
                              </a:schemeClr>
                            </a:solidFill>
                          </a:ln>
                          <a:solidFill>
                            <a:schemeClr val="tx2"/>
                          </a:solidFill>
                          <a:effectLst/>
                          <a:latin typeface="+mn-lt"/>
                          <a:ea typeface="+mn-ea"/>
                          <a:cs typeface="+mn-cs"/>
                        </a:rPr>
                        <a:t>Administrative Services</a:t>
                      </a:r>
                      <a:endParaRPr lang="en-US" sz="2000" b="0" kern="1200" dirty="0">
                        <a:ln>
                          <a:solidFill>
                            <a:schemeClr val="bg1">
                              <a:lumMod val="75000"/>
                              <a:lumOff val="25000"/>
                              <a:alpha val="10000"/>
                            </a:schemeClr>
                          </a:solidFill>
                        </a:ln>
                        <a:solidFill>
                          <a:schemeClr val="tx2"/>
                        </a:solidFill>
                        <a:effectLst/>
                        <a:latin typeface="+mn-lt"/>
                        <a:ea typeface="+mn-ea"/>
                        <a:cs typeface="+mn-cs"/>
                      </a:endParaRP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5122" name="Picture 2" descr="Tammy Robins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8518" y="2127182"/>
            <a:ext cx="2315098" cy="251555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Manuel Perez"/>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1"/>
          <a:stretch/>
        </p:blipFill>
        <p:spPr bwMode="auto">
          <a:xfrm>
            <a:off x="4494993" y="2076595"/>
            <a:ext cx="2319690" cy="261673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Thumbnail for Mendoza, Gracian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3246"/>
          <a:stretch/>
        </p:blipFill>
        <p:spPr bwMode="auto">
          <a:xfrm>
            <a:off x="8186060" y="2076595"/>
            <a:ext cx="2281188" cy="2629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76311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urn to Campus</a:t>
            </a:r>
          </a:p>
        </p:txBody>
      </p:sp>
      <p:sp>
        <p:nvSpPr>
          <p:cNvPr id="3" name="Content Placeholder 2"/>
          <p:cNvSpPr>
            <a:spLocks noGrp="1"/>
          </p:cNvSpPr>
          <p:nvPr>
            <p:ph idx="1"/>
          </p:nvPr>
        </p:nvSpPr>
        <p:spPr>
          <a:xfrm>
            <a:off x="913795" y="1732449"/>
            <a:ext cx="10353762" cy="5274743"/>
          </a:xfrm>
        </p:spPr>
        <p:txBody>
          <a:bodyPr>
            <a:normAutofit/>
          </a:bodyPr>
          <a:lstStyle/>
          <a:p>
            <a:pPr lvl="0"/>
            <a:r>
              <a:rPr lang="en-US" b="1" dirty="0">
                <a:effectLst/>
              </a:rPr>
              <a:t>Returning On-site.</a:t>
            </a:r>
            <a:r>
              <a:rPr lang="en-US" dirty="0">
                <a:effectLst/>
              </a:rPr>
              <a:t> </a:t>
            </a:r>
          </a:p>
          <a:p>
            <a:pPr lvl="1"/>
            <a:r>
              <a:rPr lang="en-US" b="1" i="1" dirty="0">
                <a:effectLst/>
              </a:rPr>
              <a:t>Administrators, Managers and Supervisors</a:t>
            </a:r>
            <a:r>
              <a:rPr lang="en-US" dirty="0">
                <a:effectLst/>
              </a:rPr>
              <a:t> </a:t>
            </a:r>
            <a:endParaRPr lang="en-US" sz="2600" dirty="0">
              <a:effectLst/>
            </a:endParaRPr>
          </a:p>
          <a:p>
            <a:pPr lvl="1"/>
            <a:r>
              <a:rPr lang="en-US" b="1" i="1" dirty="0">
                <a:effectLst/>
              </a:rPr>
              <a:t>Classified Personnel</a:t>
            </a:r>
            <a:endParaRPr lang="en-US" sz="1600" dirty="0">
              <a:effectLst/>
            </a:endParaRPr>
          </a:p>
          <a:p>
            <a:pPr lvl="1"/>
            <a:r>
              <a:rPr lang="en-US" b="1" i="1" dirty="0">
                <a:effectLst/>
              </a:rPr>
              <a:t>Faculty</a:t>
            </a:r>
            <a:endParaRPr lang="en-US" sz="1600" dirty="0">
              <a:effectLst/>
            </a:endParaRPr>
          </a:p>
          <a:p>
            <a:r>
              <a:rPr lang="en-US" b="1" dirty="0" smtClean="0">
                <a:effectLst/>
              </a:rPr>
              <a:t>Vaccines </a:t>
            </a:r>
            <a:r>
              <a:rPr lang="en-US" b="1" dirty="0">
                <a:effectLst/>
              </a:rPr>
              <a:t>are Required.</a:t>
            </a:r>
            <a:r>
              <a:rPr lang="en-US" dirty="0">
                <a:effectLst/>
              </a:rPr>
              <a:t>   </a:t>
            </a:r>
            <a:endParaRPr lang="en-US" sz="2800" dirty="0">
              <a:effectLst/>
            </a:endParaRPr>
          </a:p>
          <a:p>
            <a:pPr lvl="0"/>
            <a:r>
              <a:rPr lang="en-US" b="1" dirty="0">
                <a:effectLst/>
              </a:rPr>
              <a:t>Face Coverings are</a:t>
            </a:r>
            <a:r>
              <a:rPr lang="en-US" dirty="0">
                <a:effectLst/>
              </a:rPr>
              <a:t> </a:t>
            </a:r>
            <a:r>
              <a:rPr lang="en-US" b="1" dirty="0">
                <a:effectLst/>
              </a:rPr>
              <a:t>Required. </a:t>
            </a:r>
            <a:r>
              <a:rPr lang="en-US" dirty="0">
                <a:effectLst/>
              </a:rPr>
              <a:t>  </a:t>
            </a:r>
            <a:endParaRPr lang="en-US" sz="2800" dirty="0">
              <a:effectLst/>
            </a:endParaRPr>
          </a:p>
          <a:p>
            <a:pPr lvl="0"/>
            <a:r>
              <a:rPr lang="en-US" b="1" dirty="0">
                <a:effectLst/>
              </a:rPr>
              <a:t>Buildings are Cal/OSHA Compliant and Clean.  </a:t>
            </a:r>
          </a:p>
          <a:p>
            <a:pPr lvl="0"/>
            <a:r>
              <a:rPr lang="en-US" b="1" dirty="0">
                <a:effectLst/>
              </a:rPr>
              <a:t>Personal Protective Equipment available from the campus Public Safety Office.</a:t>
            </a:r>
            <a:r>
              <a:rPr lang="en-US" dirty="0">
                <a:effectLst/>
              </a:rPr>
              <a:t>   </a:t>
            </a:r>
            <a:endParaRPr lang="en-US" sz="2800" dirty="0">
              <a:effectLst/>
            </a:endParaRPr>
          </a:p>
          <a:p>
            <a:pPr lvl="0"/>
            <a:r>
              <a:rPr lang="en-US" b="1" dirty="0">
                <a:effectLst/>
              </a:rPr>
              <a:t>Requesting Accommodations.</a:t>
            </a:r>
            <a:r>
              <a:rPr lang="en-US" dirty="0">
                <a:effectLst/>
              </a:rPr>
              <a:t> </a:t>
            </a:r>
            <a:endParaRPr lang="en-US" dirty="0" smtClean="0">
              <a:effectLst/>
            </a:endParaRPr>
          </a:p>
          <a:p>
            <a:pPr lvl="0"/>
            <a:endParaRPr lang="en-US" dirty="0">
              <a:effectLst/>
            </a:endParaRPr>
          </a:p>
          <a:p>
            <a:pPr marL="36900" lvl="0" indent="0">
              <a:buNone/>
            </a:pPr>
            <a:r>
              <a:rPr lang="en-US" dirty="0" smtClean="0">
                <a:effectLst/>
              </a:rPr>
              <a:t>DISTRICT Return </a:t>
            </a:r>
            <a:r>
              <a:rPr lang="en-US" dirty="0">
                <a:effectLst/>
              </a:rPr>
              <a:t>to Campus website:  </a:t>
            </a:r>
            <a:r>
              <a:rPr lang="en-US" dirty="0">
                <a:effectLst/>
                <a:hlinkClick r:id="rId2"/>
              </a:rPr>
              <a:t>https://</a:t>
            </a:r>
            <a:r>
              <a:rPr lang="en-US" dirty="0" smtClean="0">
                <a:effectLst/>
                <a:hlinkClick r:id="rId2"/>
              </a:rPr>
              <a:t>smccd.edu/return-to-campus/index.php</a:t>
            </a:r>
            <a:endParaRPr lang="en-US" dirty="0" smtClean="0">
              <a:effectLst/>
            </a:endParaRPr>
          </a:p>
          <a:p>
            <a:pPr marL="36900" lvl="0" indent="0">
              <a:buNone/>
            </a:pPr>
            <a:endParaRPr lang="en-US" dirty="0"/>
          </a:p>
        </p:txBody>
      </p:sp>
    </p:spTree>
    <p:extLst>
      <p:ext uri="{BB962C8B-B14F-4D97-AF65-F5344CB8AC3E}">
        <p14:creationId xmlns:p14="http://schemas.microsoft.com/office/powerpoint/2010/main" val="3133523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mperature Check:  3 breakouts</a:t>
            </a:r>
            <a:endParaRPr lang="en-US" dirty="0"/>
          </a:p>
        </p:txBody>
      </p:sp>
      <p:sp>
        <p:nvSpPr>
          <p:cNvPr id="3" name="Content Placeholder 2"/>
          <p:cNvSpPr>
            <a:spLocks noGrp="1"/>
          </p:cNvSpPr>
          <p:nvPr>
            <p:ph idx="1"/>
          </p:nvPr>
        </p:nvSpPr>
        <p:spPr/>
        <p:txBody>
          <a:bodyPr>
            <a:normAutofit/>
          </a:bodyPr>
          <a:lstStyle/>
          <a:p>
            <a:pPr marL="36900" indent="0">
              <a:buNone/>
            </a:pPr>
            <a:r>
              <a:rPr lang="en-US" sz="3200" dirty="0" smtClean="0"/>
              <a:t>What are campus leaders hearing from their constituents about returning to campus?</a:t>
            </a:r>
          </a:p>
        </p:txBody>
      </p:sp>
    </p:spTree>
    <p:extLst>
      <p:ext uri="{BB962C8B-B14F-4D97-AF65-F5344CB8AC3E}">
        <p14:creationId xmlns:p14="http://schemas.microsoft.com/office/powerpoint/2010/main" val="4384330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0506" y="2651234"/>
            <a:ext cx="10353762" cy="970450"/>
          </a:xfrm>
        </p:spPr>
        <p:txBody>
          <a:bodyPr/>
          <a:lstStyle/>
          <a:p>
            <a:r>
              <a:rPr lang="en-US" dirty="0" smtClean="0"/>
              <a:t>VP’s Report Out</a:t>
            </a:r>
            <a:endParaRPr lang="en-US" dirty="0"/>
          </a:p>
        </p:txBody>
      </p:sp>
    </p:spTree>
    <p:extLst>
      <p:ext uri="{BB962C8B-B14F-4D97-AF65-F5344CB8AC3E}">
        <p14:creationId xmlns:p14="http://schemas.microsoft.com/office/powerpoint/2010/main" val="1211655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treat Objectives</a:t>
            </a:r>
            <a:endParaRPr lang="en-US" dirty="0"/>
          </a:p>
        </p:txBody>
      </p:sp>
      <p:sp>
        <p:nvSpPr>
          <p:cNvPr id="3" name="Content Placeholder 2"/>
          <p:cNvSpPr>
            <a:spLocks noGrp="1"/>
          </p:cNvSpPr>
          <p:nvPr>
            <p:ph idx="1"/>
          </p:nvPr>
        </p:nvSpPr>
        <p:spPr/>
        <p:txBody>
          <a:bodyPr/>
          <a:lstStyle/>
          <a:p>
            <a:r>
              <a:rPr lang="en-US" sz="2200" dirty="0" smtClean="0">
                <a:effectLst/>
              </a:rPr>
              <a:t>Campus </a:t>
            </a:r>
            <a:r>
              <a:rPr lang="en-US" sz="2200" dirty="0">
                <a:effectLst/>
              </a:rPr>
              <a:t>leaders re-connect with each other and with the mission, vision, values and strategic goals of the College</a:t>
            </a:r>
          </a:p>
          <a:p>
            <a:r>
              <a:rPr lang="en-US" sz="2200" dirty="0">
                <a:effectLst/>
              </a:rPr>
              <a:t>Campus leaders are familiar with College goals and plans for how to achieve them, as well as the unique challenges and opportunities the new academic year brings</a:t>
            </a:r>
          </a:p>
          <a:p>
            <a:r>
              <a:rPr lang="en-US" sz="2200" dirty="0">
                <a:effectLst/>
              </a:rPr>
              <a:t>Campus leaders collaborate to discuss and provide input on the strategic priorities for the next academic year.</a:t>
            </a:r>
          </a:p>
          <a:p>
            <a:endParaRPr lang="en-US" dirty="0"/>
          </a:p>
        </p:txBody>
      </p:sp>
    </p:spTree>
    <p:extLst>
      <p:ext uri="{BB962C8B-B14F-4D97-AF65-F5344CB8AC3E}">
        <p14:creationId xmlns:p14="http://schemas.microsoft.com/office/powerpoint/2010/main" val="38791661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Community</a:t>
            </a:r>
            <a:endParaRPr lang="en-US" dirty="0"/>
          </a:p>
        </p:txBody>
      </p:sp>
      <p:sp>
        <p:nvSpPr>
          <p:cNvPr id="3" name="Content Placeholder 2"/>
          <p:cNvSpPr>
            <a:spLocks noGrp="1"/>
          </p:cNvSpPr>
          <p:nvPr>
            <p:ph idx="1"/>
          </p:nvPr>
        </p:nvSpPr>
        <p:spPr>
          <a:xfrm>
            <a:off x="273269" y="2003547"/>
            <a:ext cx="6041806" cy="2692771"/>
          </a:xfrm>
        </p:spPr>
        <p:txBody>
          <a:bodyPr>
            <a:noAutofit/>
          </a:bodyPr>
          <a:lstStyle/>
          <a:p>
            <a:r>
              <a:rPr lang="en-US" sz="2400" dirty="0" smtClean="0"/>
              <a:t>A two-tiered pandemic</a:t>
            </a:r>
          </a:p>
          <a:p>
            <a:pPr lvl="1"/>
            <a:r>
              <a:rPr lang="en-US" sz="2000" dirty="0" smtClean="0"/>
              <a:t>Upper income workers mostly remained employed and are now seeing dramatic wage increases</a:t>
            </a:r>
          </a:p>
          <a:p>
            <a:pPr lvl="1"/>
            <a:r>
              <a:rPr lang="en-US" sz="2000" dirty="0" smtClean="0"/>
              <a:t>Lower income workers saw steep employment declines and now more modest wage increases</a:t>
            </a:r>
          </a:p>
          <a:p>
            <a:pPr lvl="1"/>
            <a:r>
              <a:rPr lang="en-US" sz="2000" dirty="0" smtClean="0"/>
              <a:t>13.7% of San Mateo County rental households were behind on paying rent as of early July.*</a:t>
            </a:r>
          </a:p>
          <a:p>
            <a:pPr lvl="1"/>
            <a:endParaRPr lang="en-US" sz="2000" dirty="0"/>
          </a:p>
        </p:txBody>
      </p:sp>
      <p:pic>
        <p:nvPicPr>
          <p:cNvPr id="13314" name="Picture 2" descr="Mural in North Fair Oak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4334" y="2003547"/>
            <a:ext cx="5498991" cy="343686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676939" y="5494581"/>
            <a:ext cx="5315366"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Calibri" panose="020F0502020204030204"/>
                <a:ea typeface="+mn-ea"/>
                <a:cs typeface="+mn-cs"/>
              </a:rPr>
              <a:t>North Fair Oaks Mural depicting the history of the area</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Box 4"/>
          <p:cNvSpPr txBox="1"/>
          <p:nvPr/>
        </p:nvSpPr>
        <p:spPr>
          <a:xfrm>
            <a:off x="134007" y="6488668"/>
            <a:ext cx="6171882"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Source:  https://patch.com/california/sanbruno/time-bomb-ticking-see-rental-arrears-san-mateo-county</a:t>
            </a:r>
          </a:p>
        </p:txBody>
      </p:sp>
    </p:spTree>
    <p:extLst>
      <p:ext uri="{BB962C8B-B14F-4D97-AF65-F5344CB8AC3E}">
        <p14:creationId xmlns:p14="http://schemas.microsoft.com/office/powerpoint/2010/main" val="141555031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1170" r="2300" b="3461"/>
          <a:stretch/>
        </p:blipFill>
        <p:spPr>
          <a:xfrm>
            <a:off x="587734" y="1072055"/>
            <a:ext cx="11173308" cy="4751295"/>
          </a:xfrm>
          <a:prstGeom prst="rect">
            <a:avLst/>
          </a:prstGeom>
        </p:spPr>
      </p:pic>
    </p:spTree>
    <p:extLst>
      <p:ext uri="{BB962C8B-B14F-4D97-AF65-F5344CB8AC3E}">
        <p14:creationId xmlns:p14="http://schemas.microsoft.com/office/powerpoint/2010/main" val="877436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p:nvPr/>
        </p:nvSpPr>
        <p:spPr>
          <a:xfrm>
            <a:off x="4735067" y="1626871"/>
            <a:ext cx="2743200" cy="3211195"/>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755650" marR="749300" lvl="0" indent="287655"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FOOD </a:t>
            </a:r>
            <a:r>
              <a:rPr kumimoji="0" sz="1800" b="1" i="0" u="none" strike="noStrike" kern="1200" cap="none" spc="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INSECURITY</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6670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creased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dramaticall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and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remains relativel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igh (15%), despite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idespread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wareness</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multiple</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ervices.</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4" name="object 4"/>
          <p:cNvSpPr txBox="1"/>
          <p:nvPr/>
        </p:nvSpPr>
        <p:spPr>
          <a:xfrm>
            <a:off x="7696200" y="1626871"/>
            <a:ext cx="2743200" cy="3095078"/>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755650" marR="750570" lvl="0" indent="95885"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HOUSING </a:t>
            </a:r>
            <a:r>
              <a:rPr kumimoji="0" sz="1800" b="1" i="0" u="none" strike="noStrike" kern="1200" cap="none" spc="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INSECURITY</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2352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Affects one-third of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renters</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30-35%),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ith</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 small</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u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meaningful portion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7%) under eviction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hreat</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6555" marR="22352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p:txBody>
      </p:sp>
      <p:sp>
        <p:nvSpPr>
          <p:cNvPr id="5" name="object 5"/>
          <p:cNvSpPr txBox="1"/>
          <p:nvPr/>
        </p:nvSpPr>
        <p:spPr>
          <a:xfrm>
            <a:off x="1768602" y="1605534"/>
            <a:ext cx="2743200" cy="3175228"/>
          </a:xfrm>
          <a:prstGeom prst="rect">
            <a:avLst/>
          </a:prstGeom>
          <a:solidFill>
            <a:srgbClr val="F4F4F4"/>
          </a:solidFill>
        </p:spPr>
        <p:txBody>
          <a:bodyPr vert="horz" wrap="square" lIns="0" tIns="5080" rIns="0" bIns="0" rtlCol="0">
            <a:spAutoFit/>
          </a:bodyPr>
          <a:lstStyle/>
          <a:p>
            <a:pPr marL="0" marR="0" lvl="0" indent="0" algn="l" defTabSz="914400" rtl="0" eaLnBrk="1" fontAlgn="auto" latinLnBrk="0" hangingPunct="1">
              <a:lnSpc>
                <a:spcPct val="100000"/>
              </a:lnSpc>
              <a:spcBef>
                <a:spcPts val="40"/>
              </a:spcBef>
              <a:spcAft>
                <a:spcPts val="0"/>
              </a:spcAft>
              <a:buClrTx/>
              <a:buSzTx/>
              <a:buFontTx/>
              <a:buNone/>
              <a:tabLst/>
              <a:defRPr/>
            </a:pPr>
            <a:endParaRPr kumimoji="0" sz="2650" b="0" i="0" u="none" strike="noStrike" kern="1200" cap="none" spc="0" normalizeH="0" baseline="0" noProof="0" dirty="0">
              <a:ln>
                <a:noFill/>
              </a:ln>
              <a:solidFill>
                <a:prstClr val="black"/>
              </a:solidFill>
              <a:effectLst/>
              <a:uLnTx/>
              <a:uFillTx/>
              <a:latin typeface="Times New Roman"/>
              <a:ea typeface="+mn-ea"/>
              <a:cs typeface="Times New Roman"/>
            </a:endParaRPr>
          </a:p>
          <a:p>
            <a:pPr marL="755650" marR="667385" lvl="0" indent="-8255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HEALTHCARE  INSECURITY</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56540" lvl="0" indent="-285750" algn="l" defTabSz="914400" rtl="0" eaLnBrk="1" fontAlgn="auto" latinLnBrk="0" hangingPunct="1">
              <a:lnSpc>
                <a:spcPct val="100000"/>
              </a:lnSpc>
              <a:spcBef>
                <a:spcPts val="5"/>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Always has been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high</a:t>
            </a:r>
            <a:r>
              <a:rPr kumimoji="0" sz="18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0-25%)</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u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as not increased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s much as other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unmet</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needs since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OVID</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6555" marR="256540" lvl="0" indent="-285750" algn="l" defTabSz="914400" rtl="0" eaLnBrk="1" fontAlgn="auto" latinLnBrk="0" hangingPunct="1">
              <a:lnSpc>
                <a:spcPct val="100000"/>
              </a:lnSpc>
              <a:spcBef>
                <a:spcPts val="5"/>
              </a:spcBef>
              <a:spcAft>
                <a:spcPts val="0"/>
              </a:spcAft>
              <a:buClrTx/>
              <a:buSzTx/>
              <a:buFont typeface="Arial"/>
              <a:buChar char="•"/>
              <a:tabLst>
                <a:tab pos="376555" algn="l"/>
                <a:tab pos="377190" algn="l"/>
              </a:tabLst>
              <a:defRPr/>
            </a:pP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6" name="object 6"/>
          <p:cNvSpPr txBox="1"/>
          <p:nvPr/>
        </p:nvSpPr>
        <p:spPr>
          <a:xfrm>
            <a:off x="5958078" y="4963668"/>
            <a:ext cx="4481830" cy="986167"/>
          </a:xfrm>
          <a:prstGeom prst="rect">
            <a:avLst/>
          </a:prstGeom>
          <a:solidFill>
            <a:srgbClr val="F9A44A"/>
          </a:solidFill>
        </p:spPr>
        <p:txBody>
          <a:bodyPr vert="horz" wrap="square" lIns="0" tIns="153670" rIns="0" bIns="0" rtlCol="0">
            <a:spAutoFit/>
          </a:bodyPr>
          <a:lstStyle/>
          <a:p>
            <a:pPr marL="125730" marR="118745" lvl="0" indent="29845" algn="just" defTabSz="914400" rtl="0" eaLnBrk="1" fontAlgn="auto" latinLnBrk="0" hangingPunct="1">
              <a:lnSpc>
                <a:spcPct val="100000"/>
              </a:lnSpc>
              <a:spcBef>
                <a:spcPts val="1210"/>
              </a:spcBef>
              <a:spcAft>
                <a:spcPts val="0"/>
              </a:spcAft>
              <a:buClrTx/>
              <a:buSzTx/>
              <a:buFontTx/>
              <a:buNone/>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Spanish language respondents are six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imes as likel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to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e food insecur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and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wice</a:t>
            </a:r>
            <a:r>
              <a:rPr kumimoji="0" sz="18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as</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likely</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to</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be</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ousing</a:t>
            </a:r>
            <a:r>
              <a:rPr kumimoji="0" sz="18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secure</a:t>
            </a:r>
            <a:endParaRPr kumimoji="0" sz="180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7" name="object 7"/>
          <p:cNvSpPr/>
          <p:nvPr/>
        </p:nvSpPr>
        <p:spPr>
          <a:xfrm>
            <a:off x="5022812" y="5265662"/>
            <a:ext cx="751840" cy="527685"/>
          </a:xfrm>
          <a:custGeom>
            <a:avLst/>
            <a:gdLst/>
            <a:ahLst/>
            <a:cxnLst/>
            <a:rect l="l" t="t" r="r" b="b"/>
            <a:pathLst>
              <a:path w="751839" h="527685">
                <a:moveTo>
                  <a:pt x="469734" y="37693"/>
                </a:moveTo>
                <a:lnTo>
                  <a:pt x="466763" y="23063"/>
                </a:lnTo>
                <a:lnTo>
                  <a:pt x="458685" y="11074"/>
                </a:lnTo>
                <a:lnTo>
                  <a:pt x="446747" y="2971"/>
                </a:lnTo>
                <a:lnTo>
                  <a:pt x="432155" y="0"/>
                </a:lnTo>
                <a:lnTo>
                  <a:pt x="37579" y="0"/>
                </a:lnTo>
                <a:lnTo>
                  <a:pt x="22987" y="2971"/>
                </a:lnTo>
                <a:lnTo>
                  <a:pt x="11036" y="11074"/>
                </a:lnTo>
                <a:lnTo>
                  <a:pt x="2971" y="23063"/>
                </a:lnTo>
                <a:lnTo>
                  <a:pt x="0" y="37693"/>
                </a:lnTo>
                <a:lnTo>
                  <a:pt x="0" y="292100"/>
                </a:lnTo>
                <a:lnTo>
                  <a:pt x="2971" y="306743"/>
                </a:lnTo>
                <a:lnTo>
                  <a:pt x="11036" y="318719"/>
                </a:lnTo>
                <a:lnTo>
                  <a:pt x="22987" y="326821"/>
                </a:lnTo>
                <a:lnTo>
                  <a:pt x="37579" y="329793"/>
                </a:lnTo>
                <a:lnTo>
                  <a:pt x="93954" y="329793"/>
                </a:lnTo>
                <a:lnTo>
                  <a:pt x="93954" y="424014"/>
                </a:lnTo>
                <a:lnTo>
                  <a:pt x="187896" y="329793"/>
                </a:lnTo>
                <a:lnTo>
                  <a:pt x="244259" y="329793"/>
                </a:lnTo>
                <a:lnTo>
                  <a:pt x="244259" y="141338"/>
                </a:lnTo>
                <a:lnTo>
                  <a:pt x="250190" y="112077"/>
                </a:lnTo>
                <a:lnTo>
                  <a:pt x="266344" y="88099"/>
                </a:lnTo>
                <a:lnTo>
                  <a:pt x="290233" y="71907"/>
                </a:lnTo>
                <a:lnTo>
                  <a:pt x="319417" y="65963"/>
                </a:lnTo>
                <a:lnTo>
                  <a:pt x="469734" y="65963"/>
                </a:lnTo>
                <a:lnTo>
                  <a:pt x="469734" y="37693"/>
                </a:lnTo>
                <a:close/>
              </a:path>
              <a:path w="751839" h="527685">
                <a:moveTo>
                  <a:pt x="751560" y="141338"/>
                </a:moveTo>
                <a:lnTo>
                  <a:pt x="748601" y="126707"/>
                </a:lnTo>
                <a:lnTo>
                  <a:pt x="740524" y="114719"/>
                </a:lnTo>
                <a:lnTo>
                  <a:pt x="728573" y="106629"/>
                </a:lnTo>
                <a:lnTo>
                  <a:pt x="713994" y="103657"/>
                </a:lnTo>
                <a:lnTo>
                  <a:pt x="319417" y="103657"/>
                </a:lnTo>
                <a:lnTo>
                  <a:pt x="304825" y="106629"/>
                </a:lnTo>
                <a:lnTo>
                  <a:pt x="292874" y="114719"/>
                </a:lnTo>
                <a:lnTo>
                  <a:pt x="284810" y="126707"/>
                </a:lnTo>
                <a:lnTo>
                  <a:pt x="281838" y="141338"/>
                </a:lnTo>
                <a:lnTo>
                  <a:pt x="281838" y="395757"/>
                </a:lnTo>
                <a:lnTo>
                  <a:pt x="284810" y="410387"/>
                </a:lnTo>
                <a:lnTo>
                  <a:pt x="292874" y="422376"/>
                </a:lnTo>
                <a:lnTo>
                  <a:pt x="304825" y="430466"/>
                </a:lnTo>
                <a:lnTo>
                  <a:pt x="319417" y="433438"/>
                </a:lnTo>
                <a:lnTo>
                  <a:pt x="563676" y="433438"/>
                </a:lnTo>
                <a:lnTo>
                  <a:pt x="657618" y="527672"/>
                </a:lnTo>
                <a:lnTo>
                  <a:pt x="657618" y="433438"/>
                </a:lnTo>
                <a:lnTo>
                  <a:pt x="713994" y="433438"/>
                </a:lnTo>
                <a:lnTo>
                  <a:pt x="728573" y="430466"/>
                </a:lnTo>
                <a:lnTo>
                  <a:pt x="740524" y="422376"/>
                </a:lnTo>
                <a:lnTo>
                  <a:pt x="748601" y="410387"/>
                </a:lnTo>
                <a:lnTo>
                  <a:pt x="751560" y="395757"/>
                </a:lnTo>
                <a:lnTo>
                  <a:pt x="751560" y="141338"/>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txBox="1">
            <a:spLocks noGrp="1"/>
          </p:cNvSpPr>
          <p:nvPr>
            <p:ph type="ftr" sz="quarter" idx="5"/>
          </p:nvPr>
        </p:nvSpPr>
        <p:spPr>
          <a:xfrm>
            <a:off x="6983260" y="6553958"/>
            <a:ext cx="5008033" cy="10451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600" b="1" i="0" u="none" strike="noStrike" kern="1200" cap="none" spc="30" normalizeH="0" baseline="0" noProof="0" dirty="0">
                <a:ln>
                  <a:noFill/>
                </a:ln>
                <a:solidFill>
                  <a:prstClr val="black"/>
                </a:solidFill>
                <a:effectLst/>
                <a:uLnTx/>
                <a:uFillTx/>
                <a:latin typeface="Century Gothic"/>
                <a:ea typeface="+mn-ea"/>
              </a:rPr>
              <a:t>J</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N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W</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4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G</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R</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D</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8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F</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R  </a:t>
            </a:r>
            <a:r>
              <a:rPr kumimoji="0" sz="600" b="1" i="0" u="none" strike="noStrike" kern="1200" cap="none" spc="5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Y</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H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D  </a:t>
            </a:r>
            <a:r>
              <a:rPr kumimoji="0" sz="600" b="1" i="0" u="none" strike="noStrike" kern="1200" cap="none" spc="7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S</a:t>
            </a:r>
            <a:r>
              <a:rPr kumimoji="0" sz="600" b="1" i="0" u="none" strike="noStrike" kern="1200" cap="none" spc="30" normalizeH="0" baseline="0" noProof="0" dirty="0">
                <a:ln>
                  <a:noFill/>
                </a:ln>
                <a:solidFill>
                  <a:prstClr val="black"/>
                </a:solidFill>
                <a:effectLst/>
                <a:uLnTx/>
                <a:uFillTx/>
                <a:latin typeface="Century Gothic"/>
                <a:ea typeface="+mn-ea"/>
              </a:rPr>
              <a:t> </a:t>
            </a:r>
          </a:p>
        </p:txBody>
      </p:sp>
      <p:sp>
        <p:nvSpPr>
          <p:cNvPr id="10" name="Rectangle 9"/>
          <p:cNvSpPr/>
          <p:nvPr/>
        </p:nvSpPr>
        <p:spPr>
          <a:xfrm>
            <a:off x="830317" y="470585"/>
            <a:ext cx="10363200" cy="83099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Redwood</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ity</a:t>
            </a:r>
            <a:r>
              <a:rPr kumimoji="0" lang="en-US" sz="24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amp;</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North Fair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Oaks </a:t>
            </a:r>
            <a:r>
              <a:rPr kumimoji="0" lang="en-US" sz="2400" b="0" i="0" u="none" strike="noStrike" kern="1200" cap="none" spc="-54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ommunity</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Needs</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Assessmen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 </a:t>
            </a:r>
            <a:endPar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rPr>
              <a:t>Key Takeaways</a:t>
            </a:r>
            <a:endParaRPr kumimoji="0" lang="en-US" sz="24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12" name="TextBox 11"/>
          <p:cNvSpPr txBox="1"/>
          <p:nvPr/>
        </p:nvSpPr>
        <p:spPr>
          <a:xfrm>
            <a:off x="199696" y="6421550"/>
            <a:ext cx="38947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Source:  </a:t>
            </a:r>
            <a:r>
              <a:rPr kumimoji="0" lang="en-US" sz="1400" b="0" i="0" u="none" strike="noStrike" kern="1200" cap="none" spc="0" normalizeH="0" baseline="0" noProof="0" dirty="0" smtClean="0">
                <a:ln>
                  <a:noFill/>
                </a:ln>
                <a:solidFill>
                  <a:prstClr val="black"/>
                </a:solidFill>
                <a:effectLst/>
                <a:uLnTx/>
                <a:uFillTx/>
                <a:latin typeface="Calibri"/>
                <a:ea typeface="+mn-ea"/>
                <a:cs typeface="+mn-cs"/>
                <a:hlinkClick r:id="rId3"/>
              </a:rPr>
              <a:t>Community Survey conducted spring 2021</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16690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p:nvPr/>
        </p:nvSpPr>
        <p:spPr>
          <a:xfrm>
            <a:off x="2438400" y="1637539"/>
            <a:ext cx="2743200" cy="3633687"/>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553085"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417865"/>
                </a:solidFill>
                <a:effectLst/>
                <a:uLnTx/>
                <a:uFillTx/>
                <a:latin typeface="Century Gothic"/>
                <a:ea typeface="+mn-ea"/>
                <a:cs typeface="Century Gothic"/>
              </a:rPr>
              <a:t>DIGITAL</a:t>
            </a:r>
            <a:r>
              <a:rPr kumimoji="0" sz="1800" b="1" i="0" u="none" strike="noStrike" kern="1200" cap="none" spc="-5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DIVID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91440" marR="30607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Most</a:t>
            </a:r>
            <a:r>
              <a:rPr kumimoji="0" sz="1800" b="0" i="0" u="none" strike="noStrike" kern="1200" cap="none" spc="-3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pronounced</a:t>
            </a:r>
            <a:r>
              <a:rPr kumimoji="0" sz="1800" b="0" i="0" u="none" strike="noStrike" kern="1200" cap="none" spc="-2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or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igh-quality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technology,</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or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exampl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7190" marR="51943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0" normalizeH="0" baseline="0" noProof="0" dirty="0">
                <a:ln>
                  <a:noFill/>
                </a:ln>
                <a:solidFill>
                  <a:prstClr val="black"/>
                </a:solidFill>
                <a:effectLst/>
                <a:uLnTx/>
                <a:uFillTx/>
                <a:latin typeface="Century Gothic"/>
                <a:ea typeface="+mn-ea"/>
                <a:cs typeface="Century Gothic"/>
              </a:rPr>
              <a:t>Lack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installed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ternet</a:t>
            </a:r>
            <a:r>
              <a:rPr kumimoji="0" sz="1800" b="0" i="0" u="none" strike="noStrike" kern="1200" cap="none" spc="-3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15-30%)</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 typeface="Arial"/>
              <a:buChar char="•"/>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6543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0" normalizeH="0" baseline="0" noProof="0" dirty="0">
                <a:ln>
                  <a:noFill/>
                </a:ln>
                <a:solidFill>
                  <a:prstClr val="black"/>
                </a:solidFill>
                <a:effectLst/>
                <a:uLnTx/>
                <a:uFillTx/>
                <a:latin typeface="Century Gothic"/>
                <a:ea typeface="+mn-ea"/>
                <a:cs typeface="Century Gothic"/>
              </a:rPr>
              <a:t>Lack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a hom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omputer</a:t>
            </a:r>
            <a:r>
              <a:rPr kumimoji="0" sz="1800" b="0" i="0" u="none" strike="noStrike" kern="1200" cap="none" spc="-7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0-40%)</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4" name="object 4"/>
          <p:cNvSpPr txBox="1"/>
          <p:nvPr/>
        </p:nvSpPr>
        <p:spPr>
          <a:xfrm>
            <a:off x="5399532" y="1637538"/>
            <a:ext cx="2743200" cy="3633687"/>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243204"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DISTANCE</a:t>
            </a:r>
            <a:r>
              <a:rPr kumimoji="0" sz="1800" b="1" i="0" u="none" strike="noStrike" kern="1200" cap="none" spc="-1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LEARNING</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90805" marR="96520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Top</a:t>
            </a:r>
            <a:r>
              <a:rPr kumimoji="0" sz="1800" b="0" i="0" u="none" strike="noStrike" kern="1200" cap="none" spc="-5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hallenges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clud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477520"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0" normalizeH="0" baseline="0" noProof="0" dirty="0">
                <a:ln>
                  <a:noFill/>
                </a:ln>
                <a:solidFill>
                  <a:prstClr val="black"/>
                </a:solidFill>
                <a:effectLst/>
                <a:uLnTx/>
                <a:uFillTx/>
                <a:latin typeface="Century Gothic"/>
                <a:ea typeface="+mn-ea"/>
                <a:cs typeface="Century Gothic"/>
              </a:rPr>
              <a:t>Lack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of privat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orkspace</a:t>
            </a:r>
            <a:r>
              <a:rPr kumimoji="0" sz="1800" b="0" i="0" u="none" strike="noStrike" kern="1200" cap="none" spc="-8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2%)</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15"/>
              </a:spcBef>
              <a:spcAft>
                <a:spcPts val="0"/>
              </a:spcAft>
              <a:buClrTx/>
              <a:buSzTx/>
              <a:buFont typeface="Arial"/>
              <a:buChar char="•"/>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6555" marR="290195" lvl="0" indent="-285750" algn="l" defTabSz="914400" rtl="0" eaLnBrk="1" fontAlgn="auto" latinLnBrk="0" hangingPunct="1">
              <a:lnSpc>
                <a:spcPct val="100000"/>
              </a:lnSpc>
              <a:spcBef>
                <a:spcPts val="0"/>
              </a:spcBef>
              <a:spcAft>
                <a:spcPts val="0"/>
              </a:spcAft>
              <a:buClrTx/>
              <a:buSzTx/>
              <a:buFont typeface="Arial"/>
              <a:buChar char="•"/>
              <a:tabLst>
                <a:tab pos="376555" algn="l"/>
                <a:tab pos="377190"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Insufficient support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rom teachers or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chool</a:t>
            </a:r>
            <a:r>
              <a:rPr kumimoji="0" sz="18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taff</a:t>
            </a:r>
            <a:r>
              <a:rPr kumimoji="0" sz="1800" b="0" i="0" u="none" strike="noStrike" kern="1200" cap="none" spc="-2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20</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90805" marR="290195" lvl="0" indent="0" algn="l" defTabSz="914400" rtl="0" eaLnBrk="1" fontAlgn="auto" latinLnBrk="0" hangingPunct="1">
              <a:lnSpc>
                <a:spcPct val="100000"/>
              </a:lnSpc>
              <a:spcBef>
                <a:spcPts val="0"/>
              </a:spcBef>
              <a:spcAft>
                <a:spcPts val="0"/>
              </a:spcAft>
              <a:buClrTx/>
              <a:buSzTx/>
              <a:buFontTx/>
              <a:buNone/>
              <a:tabLst>
                <a:tab pos="376555" algn="l"/>
                <a:tab pos="377190" algn="l"/>
              </a:tabLst>
              <a:defRPr/>
            </a:pP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5" name="object 5"/>
          <p:cNvSpPr/>
          <p:nvPr/>
        </p:nvSpPr>
        <p:spPr>
          <a:xfrm>
            <a:off x="8835029" y="2736922"/>
            <a:ext cx="1278255" cy="848360"/>
          </a:xfrm>
          <a:custGeom>
            <a:avLst/>
            <a:gdLst/>
            <a:ahLst/>
            <a:cxnLst/>
            <a:rect l="l" t="t" r="r" b="b"/>
            <a:pathLst>
              <a:path w="1278254" h="848360">
                <a:moveTo>
                  <a:pt x="883069" y="433692"/>
                </a:moveTo>
                <a:lnTo>
                  <a:pt x="881151" y="414845"/>
                </a:lnTo>
                <a:lnTo>
                  <a:pt x="878065" y="384352"/>
                </a:lnTo>
                <a:lnTo>
                  <a:pt x="863803" y="338378"/>
                </a:lnTo>
                <a:lnTo>
                  <a:pt x="844537" y="302818"/>
                </a:lnTo>
                <a:lnTo>
                  <a:pt x="844537" y="414845"/>
                </a:lnTo>
                <a:lnTo>
                  <a:pt x="844537" y="452539"/>
                </a:lnTo>
                <a:lnTo>
                  <a:pt x="834212" y="500837"/>
                </a:lnTo>
                <a:lnTo>
                  <a:pt x="813320" y="544474"/>
                </a:lnTo>
                <a:lnTo>
                  <a:pt x="783158" y="581875"/>
                </a:lnTo>
                <a:lnTo>
                  <a:pt x="744969" y="611479"/>
                </a:lnTo>
                <a:lnTo>
                  <a:pt x="699985" y="631723"/>
                </a:lnTo>
                <a:lnTo>
                  <a:pt x="711466" y="617905"/>
                </a:lnTo>
                <a:lnTo>
                  <a:pt x="732053" y="593128"/>
                </a:lnTo>
                <a:lnTo>
                  <a:pt x="756145" y="549643"/>
                </a:lnTo>
                <a:lnTo>
                  <a:pt x="771804" y="502323"/>
                </a:lnTo>
                <a:lnTo>
                  <a:pt x="778433" y="452539"/>
                </a:lnTo>
                <a:lnTo>
                  <a:pt x="844537" y="452539"/>
                </a:lnTo>
                <a:lnTo>
                  <a:pt x="844537" y="414845"/>
                </a:lnTo>
                <a:lnTo>
                  <a:pt x="778433" y="414845"/>
                </a:lnTo>
                <a:lnTo>
                  <a:pt x="771804" y="365099"/>
                </a:lnTo>
                <a:lnTo>
                  <a:pt x="756183" y="317855"/>
                </a:lnTo>
                <a:lnTo>
                  <a:pt x="756081" y="317639"/>
                </a:lnTo>
                <a:lnTo>
                  <a:pt x="740740" y="289966"/>
                </a:lnTo>
                <a:lnTo>
                  <a:pt x="740740" y="414845"/>
                </a:lnTo>
                <a:lnTo>
                  <a:pt x="740740" y="452539"/>
                </a:lnTo>
                <a:lnTo>
                  <a:pt x="732320" y="503669"/>
                </a:lnTo>
                <a:lnTo>
                  <a:pt x="714946" y="549592"/>
                </a:lnTo>
                <a:lnTo>
                  <a:pt x="689673" y="588340"/>
                </a:lnTo>
                <a:lnTo>
                  <a:pt x="657606" y="617893"/>
                </a:lnTo>
                <a:lnTo>
                  <a:pt x="657606" y="452539"/>
                </a:lnTo>
                <a:lnTo>
                  <a:pt x="740740" y="452539"/>
                </a:lnTo>
                <a:lnTo>
                  <a:pt x="740740" y="414845"/>
                </a:lnTo>
                <a:lnTo>
                  <a:pt x="657606" y="414845"/>
                </a:lnTo>
                <a:lnTo>
                  <a:pt x="657606" y="249516"/>
                </a:lnTo>
                <a:lnTo>
                  <a:pt x="689673" y="279057"/>
                </a:lnTo>
                <a:lnTo>
                  <a:pt x="714933" y="317792"/>
                </a:lnTo>
                <a:lnTo>
                  <a:pt x="732320" y="363728"/>
                </a:lnTo>
                <a:lnTo>
                  <a:pt x="740740" y="414845"/>
                </a:lnTo>
                <a:lnTo>
                  <a:pt x="740740" y="289966"/>
                </a:lnTo>
                <a:lnTo>
                  <a:pt x="732040" y="274256"/>
                </a:lnTo>
                <a:lnTo>
                  <a:pt x="711479" y="249516"/>
                </a:lnTo>
                <a:lnTo>
                  <a:pt x="700062" y="235775"/>
                </a:lnTo>
                <a:lnTo>
                  <a:pt x="744918" y="255879"/>
                </a:lnTo>
                <a:lnTo>
                  <a:pt x="783120" y="285470"/>
                </a:lnTo>
                <a:lnTo>
                  <a:pt x="813308" y="322884"/>
                </a:lnTo>
                <a:lnTo>
                  <a:pt x="834199" y="366534"/>
                </a:lnTo>
                <a:lnTo>
                  <a:pt x="844537" y="414845"/>
                </a:lnTo>
                <a:lnTo>
                  <a:pt x="844537" y="302818"/>
                </a:lnTo>
                <a:lnTo>
                  <a:pt x="841273" y="296786"/>
                </a:lnTo>
                <a:lnTo>
                  <a:pt x="811441" y="260540"/>
                </a:lnTo>
                <a:lnTo>
                  <a:pt x="781392" y="235673"/>
                </a:lnTo>
                <a:lnTo>
                  <a:pt x="775309" y="230632"/>
                </a:lnTo>
                <a:lnTo>
                  <a:pt x="733831" y="208026"/>
                </a:lnTo>
                <a:lnTo>
                  <a:pt x="688009" y="193725"/>
                </a:lnTo>
                <a:lnTo>
                  <a:pt x="638810" y="188709"/>
                </a:lnTo>
                <a:lnTo>
                  <a:pt x="620026" y="190614"/>
                </a:lnTo>
                <a:lnTo>
                  <a:pt x="620026" y="249504"/>
                </a:lnTo>
                <a:lnTo>
                  <a:pt x="620026" y="414845"/>
                </a:lnTo>
                <a:lnTo>
                  <a:pt x="620026" y="452539"/>
                </a:lnTo>
                <a:lnTo>
                  <a:pt x="620026" y="617905"/>
                </a:lnTo>
                <a:lnTo>
                  <a:pt x="587933" y="588378"/>
                </a:lnTo>
                <a:lnTo>
                  <a:pt x="577583" y="572516"/>
                </a:lnTo>
                <a:lnTo>
                  <a:pt x="577583" y="631698"/>
                </a:lnTo>
                <a:lnTo>
                  <a:pt x="532650" y="611479"/>
                </a:lnTo>
                <a:lnTo>
                  <a:pt x="494499" y="581914"/>
                </a:lnTo>
                <a:lnTo>
                  <a:pt x="464312" y="544499"/>
                </a:lnTo>
                <a:lnTo>
                  <a:pt x="443420" y="500849"/>
                </a:lnTo>
                <a:lnTo>
                  <a:pt x="433095" y="452539"/>
                </a:lnTo>
                <a:lnTo>
                  <a:pt x="499186" y="452539"/>
                </a:lnTo>
                <a:lnTo>
                  <a:pt x="505802" y="502323"/>
                </a:lnTo>
                <a:lnTo>
                  <a:pt x="521423" y="549592"/>
                </a:lnTo>
                <a:lnTo>
                  <a:pt x="545528" y="593115"/>
                </a:lnTo>
                <a:lnTo>
                  <a:pt x="577583" y="631698"/>
                </a:lnTo>
                <a:lnTo>
                  <a:pt x="577583" y="572516"/>
                </a:lnTo>
                <a:lnTo>
                  <a:pt x="562673" y="549643"/>
                </a:lnTo>
                <a:lnTo>
                  <a:pt x="545299" y="503707"/>
                </a:lnTo>
                <a:lnTo>
                  <a:pt x="536879" y="452539"/>
                </a:lnTo>
                <a:lnTo>
                  <a:pt x="620026" y="452539"/>
                </a:lnTo>
                <a:lnTo>
                  <a:pt x="620026" y="414845"/>
                </a:lnTo>
                <a:lnTo>
                  <a:pt x="536867" y="414845"/>
                </a:lnTo>
                <a:lnTo>
                  <a:pt x="545274" y="363575"/>
                </a:lnTo>
                <a:lnTo>
                  <a:pt x="562635" y="317639"/>
                </a:lnTo>
                <a:lnTo>
                  <a:pt x="587908" y="278968"/>
                </a:lnTo>
                <a:lnTo>
                  <a:pt x="620026" y="249504"/>
                </a:lnTo>
                <a:lnTo>
                  <a:pt x="620026" y="190614"/>
                </a:lnTo>
                <a:lnTo>
                  <a:pt x="589584" y="193687"/>
                </a:lnTo>
                <a:lnTo>
                  <a:pt x="577316" y="197510"/>
                </a:lnTo>
                <a:lnTo>
                  <a:pt x="577316" y="235775"/>
                </a:lnTo>
                <a:lnTo>
                  <a:pt x="545312" y="274345"/>
                </a:lnTo>
                <a:lnTo>
                  <a:pt x="521271" y="317855"/>
                </a:lnTo>
                <a:lnTo>
                  <a:pt x="505739" y="365048"/>
                </a:lnTo>
                <a:lnTo>
                  <a:pt x="499186" y="414845"/>
                </a:lnTo>
                <a:lnTo>
                  <a:pt x="433095" y="414845"/>
                </a:lnTo>
                <a:lnTo>
                  <a:pt x="443395" y="366610"/>
                </a:lnTo>
                <a:lnTo>
                  <a:pt x="464235" y="323011"/>
                </a:lnTo>
                <a:lnTo>
                  <a:pt x="494347" y="285623"/>
                </a:lnTo>
                <a:lnTo>
                  <a:pt x="532460" y="256019"/>
                </a:lnTo>
                <a:lnTo>
                  <a:pt x="577316" y="235775"/>
                </a:lnTo>
                <a:lnTo>
                  <a:pt x="577316" y="197510"/>
                </a:lnTo>
                <a:lnTo>
                  <a:pt x="502246" y="230543"/>
                </a:lnTo>
                <a:lnTo>
                  <a:pt x="466090" y="260464"/>
                </a:lnTo>
                <a:lnTo>
                  <a:pt x="436270" y="296722"/>
                </a:lnTo>
                <a:lnTo>
                  <a:pt x="413753" y="338328"/>
                </a:lnTo>
                <a:lnTo>
                  <a:pt x="399516" y="384314"/>
                </a:lnTo>
                <a:lnTo>
                  <a:pt x="394550" y="433692"/>
                </a:lnTo>
                <a:lnTo>
                  <a:pt x="399516" y="483069"/>
                </a:lnTo>
                <a:lnTo>
                  <a:pt x="413753" y="529056"/>
                </a:lnTo>
                <a:lnTo>
                  <a:pt x="436270" y="570674"/>
                </a:lnTo>
                <a:lnTo>
                  <a:pt x="466090" y="606933"/>
                </a:lnTo>
                <a:lnTo>
                  <a:pt x="502246" y="636841"/>
                </a:lnTo>
                <a:lnTo>
                  <a:pt x="543737" y="659434"/>
                </a:lnTo>
                <a:lnTo>
                  <a:pt x="589584" y="673709"/>
                </a:lnTo>
                <a:lnTo>
                  <a:pt x="638810" y="678688"/>
                </a:lnTo>
                <a:lnTo>
                  <a:pt x="688035" y="673709"/>
                </a:lnTo>
                <a:lnTo>
                  <a:pt x="733894" y="659434"/>
                </a:lnTo>
                <a:lnTo>
                  <a:pt x="775385" y="636841"/>
                </a:lnTo>
                <a:lnTo>
                  <a:pt x="781570" y="631723"/>
                </a:lnTo>
                <a:lnTo>
                  <a:pt x="811530" y="606933"/>
                </a:lnTo>
                <a:lnTo>
                  <a:pt x="841349" y="570674"/>
                </a:lnTo>
                <a:lnTo>
                  <a:pt x="863879" y="529056"/>
                </a:lnTo>
                <a:lnTo>
                  <a:pt x="878103" y="483069"/>
                </a:lnTo>
                <a:lnTo>
                  <a:pt x="881176" y="452539"/>
                </a:lnTo>
                <a:lnTo>
                  <a:pt x="883069" y="433692"/>
                </a:lnTo>
                <a:close/>
              </a:path>
              <a:path w="1278254" h="848360">
                <a:moveTo>
                  <a:pt x="1183767" y="94259"/>
                </a:moveTo>
                <a:lnTo>
                  <a:pt x="1146149" y="94259"/>
                </a:lnTo>
                <a:lnTo>
                  <a:pt x="1146149" y="132410"/>
                </a:lnTo>
                <a:lnTo>
                  <a:pt x="1146149" y="735291"/>
                </a:lnTo>
                <a:lnTo>
                  <a:pt x="131521" y="735291"/>
                </a:lnTo>
                <a:lnTo>
                  <a:pt x="131521" y="132410"/>
                </a:lnTo>
                <a:lnTo>
                  <a:pt x="1146149" y="132410"/>
                </a:lnTo>
                <a:lnTo>
                  <a:pt x="1146149" y="94259"/>
                </a:lnTo>
                <a:lnTo>
                  <a:pt x="93941" y="94259"/>
                </a:lnTo>
                <a:lnTo>
                  <a:pt x="93941" y="132410"/>
                </a:lnTo>
                <a:lnTo>
                  <a:pt x="93941" y="735291"/>
                </a:lnTo>
                <a:lnTo>
                  <a:pt x="93941" y="772172"/>
                </a:lnTo>
                <a:lnTo>
                  <a:pt x="93941" y="773442"/>
                </a:lnTo>
                <a:lnTo>
                  <a:pt x="300012" y="773442"/>
                </a:lnTo>
                <a:lnTo>
                  <a:pt x="300012" y="772172"/>
                </a:lnTo>
                <a:lnTo>
                  <a:pt x="1183690" y="772172"/>
                </a:lnTo>
                <a:lnTo>
                  <a:pt x="1183690" y="735291"/>
                </a:lnTo>
                <a:lnTo>
                  <a:pt x="1183728" y="132410"/>
                </a:lnTo>
                <a:lnTo>
                  <a:pt x="1183767" y="94259"/>
                </a:lnTo>
                <a:close/>
              </a:path>
              <a:path w="1278254" h="848360">
                <a:moveTo>
                  <a:pt x="1277708" y="75387"/>
                </a:moveTo>
                <a:lnTo>
                  <a:pt x="1271790" y="46050"/>
                </a:lnTo>
                <a:lnTo>
                  <a:pt x="1255674" y="22098"/>
                </a:lnTo>
                <a:lnTo>
                  <a:pt x="1231798" y="5943"/>
                </a:lnTo>
                <a:lnTo>
                  <a:pt x="1202563" y="0"/>
                </a:lnTo>
                <a:lnTo>
                  <a:pt x="75158" y="0"/>
                </a:lnTo>
                <a:lnTo>
                  <a:pt x="45923" y="5943"/>
                </a:lnTo>
                <a:lnTo>
                  <a:pt x="22034" y="22098"/>
                </a:lnTo>
                <a:lnTo>
                  <a:pt x="5930" y="46050"/>
                </a:lnTo>
                <a:lnTo>
                  <a:pt x="0" y="75387"/>
                </a:lnTo>
                <a:lnTo>
                  <a:pt x="0" y="848283"/>
                </a:lnTo>
                <a:lnTo>
                  <a:pt x="37579" y="848283"/>
                </a:lnTo>
                <a:lnTo>
                  <a:pt x="37579" y="75387"/>
                </a:lnTo>
                <a:lnTo>
                  <a:pt x="40538" y="60718"/>
                </a:lnTo>
                <a:lnTo>
                  <a:pt x="48602" y="48742"/>
                </a:lnTo>
                <a:lnTo>
                  <a:pt x="60540" y="40665"/>
                </a:lnTo>
                <a:lnTo>
                  <a:pt x="75158" y="37693"/>
                </a:lnTo>
                <a:lnTo>
                  <a:pt x="1202563" y="37693"/>
                </a:lnTo>
                <a:lnTo>
                  <a:pt x="1217180" y="40665"/>
                </a:lnTo>
                <a:lnTo>
                  <a:pt x="1229106" y="48742"/>
                </a:lnTo>
                <a:lnTo>
                  <a:pt x="1237170" y="60718"/>
                </a:lnTo>
                <a:lnTo>
                  <a:pt x="1240129" y="75387"/>
                </a:lnTo>
                <a:lnTo>
                  <a:pt x="1240129" y="848283"/>
                </a:lnTo>
                <a:lnTo>
                  <a:pt x="1277708" y="848283"/>
                </a:lnTo>
                <a:lnTo>
                  <a:pt x="1277708" y="75387"/>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8609548" y="3641383"/>
            <a:ext cx="1729105" cy="132080"/>
          </a:xfrm>
          <a:custGeom>
            <a:avLst/>
            <a:gdLst/>
            <a:ahLst/>
            <a:cxnLst/>
            <a:rect l="l" t="t" r="r" b="b"/>
            <a:pathLst>
              <a:path w="1729104" h="132079">
                <a:moveTo>
                  <a:pt x="1634721" y="131916"/>
                </a:moveTo>
                <a:lnTo>
                  <a:pt x="93945" y="131916"/>
                </a:lnTo>
                <a:lnTo>
                  <a:pt x="57396" y="124481"/>
                </a:lnTo>
                <a:lnTo>
                  <a:pt x="27547" y="104277"/>
                </a:lnTo>
                <a:lnTo>
                  <a:pt x="7410" y="74332"/>
                </a:lnTo>
                <a:lnTo>
                  <a:pt x="3" y="37690"/>
                </a:lnTo>
                <a:lnTo>
                  <a:pt x="0" y="0"/>
                </a:lnTo>
                <a:lnTo>
                  <a:pt x="770388" y="0"/>
                </a:lnTo>
                <a:lnTo>
                  <a:pt x="770388" y="37690"/>
                </a:lnTo>
                <a:lnTo>
                  <a:pt x="37578" y="37690"/>
                </a:lnTo>
                <a:lnTo>
                  <a:pt x="42025" y="59684"/>
                </a:lnTo>
                <a:lnTo>
                  <a:pt x="54107" y="77647"/>
                </a:lnTo>
                <a:lnTo>
                  <a:pt x="72016" y="89765"/>
                </a:lnTo>
                <a:lnTo>
                  <a:pt x="93945" y="94226"/>
                </a:lnTo>
                <a:lnTo>
                  <a:pt x="1707901" y="94226"/>
                </a:lnTo>
                <a:lnTo>
                  <a:pt x="1701136" y="104284"/>
                </a:lnTo>
                <a:lnTo>
                  <a:pt x="1671281" y="124484"/>
                </a:lnTo>
                <a:lnTo>
                  <a:pt x="1634721" y="131916"/>
                </a:lnTo>
                <a:close/>
              </a:path>
              <a:path w="1729104" h="132079">
                <a:moveTo>
                  <a:pt x="1707901" y="94226"/>
                </a:moveTo>
                <a:lnTo>
                  <a:pt x="1634721" y="94226"/>
                </a:lnTo>
                <a:lnTo>
                  <a:pt x="1656650" y="89765"/>
                </a:lnTo>
                <a:lnTo>
                  <a:pt x="1674561" y="77647"/>
                </a:lnTo>
                <a:lnTo>
                  <a:pt x="1686649" y="59684"/>
                </a:lnTo>
                <a:lnTo>
                  <a:pt x="1691107" y="37690"/>
                </a:lnTo>
                <a:lnTo>
                  <a:pt x="958297" y="37690"/>
                </a:lnTo>
                <a:lnTo>
                  <a:pt x="958297" y="0"/>
                </a:lnTo>
                <a:lnTo>
                  <a:pt x="1728685" y="0"/>
                </a:lnTo>
                <a:lnTo>
                  <a:pt x="1728682" y="37690"/>
                </a:lnTo>
                <a:lnTo>
                  <a:pt x="1721275" y="74340"/>
                </a:lnTo>
                <a:lnTo>
                  <a:pt x="1707901" y="94226"/>
                </a:lnTo>
                <a:close/>
              </a:path>
              <a:path w="1729104" h="132079">
                <a:moveTo>
                  <a:pt x="768716" y="75399"/>
                </a:moveTo>
                <a:lnTo>
                  <a:pt x="735176" y="51972"/>
                </a:lnTo>
                <a:lnTo>
                  <a:pt x="732810" y="37690"/>
                </a:lnTo>
                <a:lnTo>
                  <a:pt x="995875" y="37690"/>
                </a:lnTo>
                <a:lnTo>
                  <a:pt x="995875" y="40196"/>
                </a:lnTo>
                <a:lnTo>
                  <a:pt x="992532" y="54283"/>
                </a:lnTo>
                <a:lnTo>
                  <a:pt x="984350" y="65597"/>
                </a:lnTo>
                <a:lnTo>
                  <a:pt x="972536" y="73007"/>
                </a:lnTo>
                <a:lnTo>
                  <a:pt x="958297" y="75381"/>
                </a:lnTo>
                <a:lnTo>
                  <a:pt x="770388" y="75381"/>
                </a:lnTo>
                <a:lnTo>
                  <a:pt x="768716" y="75399"/>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Rectangle 9"/>
          <p:cNvSpPr/>
          <p:nvPr/>
        </p:nvSpPr>
        <p:spPr>
          <a:xfrm>
            <a:off x="830317" y="470585"/>
            <a:ext cx="10363200" cy="83099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Redwood</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ity</a:t>
            </a:r>
            <a:r>
              <a:rPr kumimoji="0" lang="en-US" sz="24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amp;</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North Fair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Oaks </a:t>
            </a:r>
            <a:r>
              <a:rPr kumimoji="0" lang="en-US" sz="2400" b="0" i="0" u="none" strike="noStrike" kern="1200" cap="none" spc="-54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ommunity</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Needs</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Assessmen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 </a:t>
            </a:r>
            <a:endPar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rPr>
              <a:t>Key Takeaways</a:t>
            </a:r>
            <a:endParaRPr kumimoji="0" lang="en-US" sz="24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11" name="object 8"/>
          <p:cNvSpPr txBox="1">
            <a:spLocks noGrp="1"/>
          </p:cNvSpPr>
          <p:nvPr>
            <p:ph type="ftr" sz="quarter" idx="5"/>
          </p:nvPr>
        </p:nvSpPr>
        <p:spPr>
          <a:xfrm>
            <a:off x="6983260" y="6553958"/>
            <a:ext cx="5008033" cy="10451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600" b="1" i="0" u="none" strike="noStrike" kern="1200" cap="none" spc="30" normalizeH="0" baseline="0" noProof="0" dirty="0">
                <a:ln>
                  <a:noFill/>
                </a:ln>
                <a:solidFill>
                  <a:prstClr val="black"/>
                </a:solidFill>
                <a:effectLst/>
                <a:uLnTx/>
                <a:uFillTx/>
                <a:latin typeface="Century Gothic"/>
                <a:ea typeface="+mn-ea"/>
              </a:rPr>
              <a:t>J</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N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W</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4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G</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R</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D</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8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F</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R  </a:t>
            </a:r>
            <a:r>
              <a:rPr kumimoji="0" sz="600" b="1" i="0" u="none" strike="noStrike" kern="1200" cap="none" spc="5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Y</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H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D  </a:t>
            </a:r>
            <a:r>
              <a:rPr kumimoji="0" sz="600" b="1" i="0" u="none" strike="noStrike" kern="1200" cap="none" spc="7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S</a:t>
            </a:r>
            <a:r>
              <a:rPr kumimoji="0" sz="600" b="1" i="0" u="none" strike="noStrike" kern="1200" cap="none" spc="30" normalizeH="0" baseline="0" noProof="0" dirty="0">
                <a:ln>
                  <a:noFill/>
                </a:ln>
                <a:solidFill>
                  <a:prstClr val="black"/>
                </a:solidFill>
                <a:effectLst/>
                <a:uLnTx/>
                <a:uFillTx/>
                <a:latin typeface="Century Gothic"/>
                <a:ea typeface="+mn-ea"/>
              </a:rPr>
              <a:t> </a:t>
            </a:r>
          </a:p>
        </p:txBody>
      </p:sp>
      <p:sp>
        <p:nvSpPr>
          <p:cNvPr id="12" name="TextBox 11"/>
          <p:cNvSpPr txBox="1"/>
          <p:nvPr/>
        </p:nvSpPr>
        <p:spPr>
          <a:xfrm>
            <a:off x="199696" y="6421550"/>
            <a:ext cx="38947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Source:  </a:t>
            </a:r>
            <a:r>
              <a:rPr kumimoji="0" lang="en-US" sz="1400" b="0" i="0" u="none" strike="noStrike" kern="1200" cap="none" spc="0" normalizeH="0" baseline="0" noProof="0" dirty="0" smtClean="0">
                <a:ln>
                  <a:noFill/>
                </a:ln>
                <a:solidFill>
                  <a:prstClr val="black"/>
                </a:solidFill>
                <a:effectLst/>
                <a:uLnTx/>
                <a:uFillTx/>
                <a:latin typeface="Calibri"/>
                <a:ea typeface="+mn-ea"/>
                <a:cs typeface="+mn-cs"/>
                <a:hlinkClick r:id="rId3"/>
              </a:rPr>
              <a:t>Community Survey conducted spring 2021</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753516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p:nvPr/>
        </p:nvSpPr>
        <p:spPr>
          <a:xfrm>
            <a:off x="3267455" y="1616203"/>
            <a:ext cx="2743200" cy="3095078"/>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597535"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srgbClr val="417865"/>
                </a:solidFill>
                <a:effectLst/>
                <a:uLnTx/>
                <a:uFillTx/>
                <a:latin typeface="Century Gothic"/>
                <a:ea typeface="+mn-ea"/>
                <a:cs typeface="Century Gothic"/>
              </a:rPr>
              <a:t>SECOND</a:t>
            </a:r>
            <a:r>
              <a:rPr kumimoji="0" sz="1800" b="1" i="0" u="none" strike="noStrike" kern="1200" cap="none" spc="-20" normalizeH="0" baseline="0" noProof="0" dirty="0">
                <a:ln>
                  <a:noFill/>
                </a:ln>
                <a:solidFill>
                  <a:srgbClr val="417865"/>
                </a:solidFill>
                <a:effectLst/>
                <a:uLnTx/>
                <a:uFillTx/>
                <a:latin typeface="Century Gothic"/>
                <a:ea typeface="+mn-ea"/>
                <a:cs typeface="Century Gothic"/>
              </a:rPr>
              <a:t> </a:t>
            </a:r>
            <a:r>
              <a:rPr kumimoji="0" sz="1800" b="1" i="0" u="none" strike="noStrike" kern="1200" cap="none" spc="-5" normalizeH="0" baseline="0" noProof="0" dirty="0">
                <a:ln>
                  <a:noFill/>
                </a:ln>
                <a:solidFill>
                  <a:srgbClr val="417865"/>
                </a:solidFill>
                <a:effectLst/>
                <a:uLnTx/>
                <a:uFillTx/>
                <a:latin typeface="Century Gothic"/>
                <a:ea typeface="+mn-ea"/>
                <a:cs typeface="Century Gothic"/>
              </a:rPr>
              <a:t>SHIFT</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Most full-tim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workers (55%) ar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aring for children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more</a:t>
            </a:r>
            <a:r>
              <a:rPr kumimoji="0" sz="18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than</a:t>
            </a:r>
            <a:r>
              <a:rPr kumimoji="0" sz="1800" b="0" i="0" u="none" strike="noStrike" kern="1200" cap="none" spc="-25"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8</a:t>
            </a:r>
            <a:r>
              <a:rPr kumimoji="0" sz="1800" b="0" i="0" u="none" strike="noStrike" kern="1200" cap="none" spc="-2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hours a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day</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4097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p:txBody>
      </p:sp>
      <p:sp>
        <p:nvSpPr>
          <p:cNvPr id="4" name="object 4"/>
          <p:cNvSpPr txBox="1"/>
          <p:nvPr/>
        </p:nvSpPr>
        <p:spPr>
          <a:xfrm>
            <a:off x="6228588" y="1616202"/>
            <a:ext cx="2743200" cy="3095078"/>
          </a:xfrm>
          <a:prstGeom prst="rect">
            <a:avLst/>
          </a:prstGeom>
          <a:solidFill>
            <a:srgbClr val="F4F4F4"/>
          </a:solidFill>
        </p:spPr>
        <p:txBody>
          <a:bodyPr vert="horz" wrap="square" lIns="0" tIns="1905" rIns="0" bIns="0" rtlCol="0">
            <a:spAutoFit/>
          </a:bodyPr>
          <a:lstStyle/>
          <a:p>
            <a:pPr marL="0" marR="0" lvl="0" indent="0" algn="l" defTabSz="914400" rtl="0" eaLnBrk="1" fontAlgn="auto" latinLnBrk="0" hangingPunct="1">
              <a:lnSpc>
                <a:spcPct val="100000"/>
              </a:lnSpc>
              <a:spcBef>
                <a:spcPts val="15"/>
              </a:spcBef>
              <a:spcAft>
                <a:spcPts val="0"/>
              </a:spcAft>
              <a:buClrTx/>
              <a:buSzTx/>
              <a:buFontTx/>
              <a:buNone/>
              <a:tabLst/>
              <a:defRPr/>
            </a:pPr>
            <a:endParaRPr kumimoji="0" sz="2150" b="0" i="0" u="none" strike="noStrike" kern="1200" cap="none" spc="0" normalizeH="0" baseline="0" noProof="0" dirty="0">
              <a:ln>
                <a:noFill/>
              </a:ln>
              <a:solidFill>
                <a:prstClr val="black"/>
              </a:solidFill>
              <a:effectLst/>
              <a:uLnTx/>
              <a:uFillTx/>
              <a:latin typeface="Times New Roman"/>
              <a:ea typeface="+mn-ea"/>
              <a:cs typeface="Times New Roman"/>
            </a:endParaRPr>
          </a:p>
          <a:p>
            <a:pPr marL="906780"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417865"/>
                </a:solidFill>
                <a:effectLst/>
                <a:uLnTx/>
                <a:uFillTx/>
                <a:latin typeface="Century Gothic"/>
                <a:ea typeface="+mn-ea"/>
                <a:cs typeface="Century Gothic"/>
              </a:rPr>
              <a:t>INCOME</a:t>
            </a: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50" b="0" i="0" u="none" strike="noStrike" kern="1200" cap="none" spc="0" normalizeH="0" baseline="0" noProof="0" dirty="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r>
              <a:rPr kumimoji="0" sz="1800" b="0" i="0" u="none" strike="noStrike" kern="1200" cap="none" spc="-5" normalizeH="0" baseline="0" noProof="0" dirty="0">
                <a:ln>
                  <a:noFill/>
                </a:ln>
                <a:solidFill>
                  <a:prstClr val="black"/>
                </a:solidFill>
                <a:effectLst/>
                <a:uLnTx/>
                <a:uFillTx/>
                <a:latin typeface="Century Gothic"/>
                <a:ea typeface="+mn-ea"/>
                <a:cs typeface="Century Gothic"/>
              </a:rPr>
              <a:t>Unemployment</a:t>
            </a:r>
            <a:r>
              <a:rPr kumimoji="0" sz="1800" b="0" i="0" u="none" strike="noStrike" kern="1200" cap="none" spc="-5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and </a:t>
            </a:r>
            <a:r>
              <a:rPr kumimoji="0" sz="1800" b="0" i="0" u="none" strike="noStrike" kern="1200" cap="none" spc="-484"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furlough rates hav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doubled</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since </a:t>
            </a:r>
            <a:r>
              <a:rPr kumimoji="0" sz="1800" b="0" i="0" u="none" strike="noStrike" kern="1200" cap="none" spc="0" normalizeH="0" baseline="0" noProof="0" dirty="0">
                <a:ln>
                  <a:noFill/>
                </a:ln>
                <a:solidFill>
                  <a:prstClr val="black"/>
                </a:solidFill>
                <a:effectLst/>
                <a:uLnTx/>
                <a:uFillTx/>
                <a:latin typeface="Century Gothic"/>
                <a:ea typeface="+mn-ea"/>
                <a:cs typeface="Century Gothic"/>
              </a:rPr>
              <a:t> </a:t>
            </a:r>
            <a:r>
              <a:rPr kumimoji="0" sz="1800" b="0" i="0" u="none" strike="noStrike" kern="1200" cap="none" spc="-5" normalizeH="0" baseline="0" noProof="0" dirty="0">
                <a:ln>
                  <a:noFill/>
                </a:ln>
                <a:solidFill>
                  <a:prstClr val="black"/>
                </a:solidFill>
                <a:effectLst/>
                <a:uLnTx/>
                <a:uFillTx/>
                <a:latin typeface="Century Gothic"/>
                <a:ea typeface="+mn-ea"/>
                <a:cs typeface="Century Gothic"/>
              </a:rPr>
              <a:t>COVID</a:t>
            </a:r>
            <a:r>
              <a:rPr kumimoji="0" sz="1800" b="0" i="0" u="none" strike="noStrike" kern="1200" cap="none" spc="-5" normalizeH="0" baseline="0" noProof="0" dirty="0" smtClean="0">
                <a:ln>
                  <a:noFill/>
                </a:ln>
                <a:solidFill>
                  <a:prstClr val="black"/>
                </a:solidFill>
                <a:effectLst/>
                <a:uLnTx/>
                <a:uFillTx/>
                <a:latin typeface="Century Gothic"/>
                <a:ea typeface="+mn-ea"/>
                <a:cs typeface="Century Gothic"/>
              </a:rPr>
              <a:t>.</a:t>
            </a: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377190" marR="135890" lvl="0" indent="-285750" algn="l" defTabSz="914400" rtl="0" eaLnBrk="1" fontAlgn="auto" latinLnBrk="0" hangingPunct="1">
              <a:lnSpc>
                <a:spcPct val="100000"/>
              </a:lnSpc>
              <a:spcBef>
                <a:spcPts val="5"/>
              </a:spcBef>
              <a:spcAft>
                <a:spcPts val="0"/>
              </a:spcAft>
              <a:buClrTx/>
              <a:buSzTx/>
              <a:buFont typeface="Arial"/>
              <a:buChar char="•"/>
              <a:tabLst>
                <a:tab pos="377190" algn="l"/>
                <a:tab pos="377825" algn="l"/>
              </a:tabLst>
              <a:defRPr/>
            </a:pPr>
            <a:endParaRPr kumimoji="0" lang="en-US" sz="1800" b="0" i="0" u="none" strike="noStrike" kern="1200" cap="none" spc="-5" normalizeH="0" baseline="0" noProof="0" dirty="0">
              <a:ln>
                <a:noFill/>
              </a:ln>
              <a:solidFill>
                <a:prstClr val="black"/>
              </a:solidFill>
              <a:effectLst/>
              <a:uLnTx/>
              <a:uFillTx/>
              <a:latin typeface="Century Gothic"/>
              <a:ea typeface="+mn-ea"/>
              <a:cs typeface="Century Gothic"/>
            </a:endParaRPr>
          </a:p>
          <a:p>
            <a:pPr marL="91440" marR="135890" lvl="0" indent="0" algn="l" defTabSz="914400" rtl="0" eaLnBrk="1" fontAlgn="auto" latinLnBrk="0" hangingPunct="1">
              <a:lnSpc>
                <a:spcPct val="100000"/>
              </a:lnSpc>
              <a:spcBef>
                <a:spcPts val="5"/>
              </a:spcBef>
              <a:spcAft>
                <a:spcPts val="0"/>
              </a:spcAft>
              <a:buClrTx/>
              <a:buSzTx/>
              <a:buFontTx/>
              <a:buNone/>
              <a:tabLst>
                <a:tab pos="377190" algn="l"/>
                <a:tab pos="377825" algn="l"/>
              </a:tabLst>
              <a:defRPr/>
            </a:pPr>
            <a:endParaRPr kumimoji="0" sz="1800" b="0" i="0" u="none" strike="noStrike" kern="1200" cap="none" spc="0" normalizeH="0" baseline="0" noProof="0" dirty="0">
              <a:ln>
                <a:noFill/>
              </a:ln>
              <a:solidFill>
                <a:prstClr val="black"/>
              </a:solidFill>
              <a:effectLst/>
              <a:uLnTx/>
              <a:uFillTx/>
              <a:latin typeface="Century Gothic"/>
              <a:ea typeface="+mn-ea"/>
              <a:cs typeface="Century Gothic"/>
            </a:endParaRPr>
          </a:p>
        </p:txBody>
      </p:sp>
      <p:grpSp>
        <p:nvGrpSpPr>
          <p:cNvPr id="5" name="object 5"/>
          <p:cNvGrpSpPr/>
          <p:nvPr/>
        </p:nvGrpSpPr>
        <p:grpSpPr>
          <a:xfrm>
            <a:off x="1835381" y="3626979"/>
            <a:ext cx="1050925" cy="1508125"/>
            <a:chOff x="374397" y="4488826"/>
            <a:chExt cx="1050925" cy="1508125"/>
          </a:xfrm>
        </p:grpSpPr>
        <p:sp>
          <p:nvSpPr>
            <p:cNvPr id="6" name="object 6"/>
            <p:cNvSpPr/>
            <p:nvPr/>
          </p:nvSpPr>
          <p:spPr>
            <a:xfrm>
              <a:off x="1079242" y="5554225"/>
              <a:ext cx="226060" cy="434340"/>
            </a:xfrm>
            <a:custGeom>
              <a:avLst/>
              <a:gdLst/>
              <a:ahLst/>
              <a:cxnLst/>
              <a:rect l="l" t="t" r="r" b="b"/>
              <a:pathLst>
                <a:path w="226059" h="434339">
                  <a:moveTo>
                    <a:pt x="225468" y="433911"/>
                  </a:moveTo>
                  <a:lnTo>
                    <a:pt x="0" y="433911"/>
                  </a:lnTo>
                  <a:lnTo>
                    <a:pt x="0" y="18845"/>
                  </a:lnTo>
                  <a:lnTo>
                    <a:pt x="1477" y="11512"/>
                  </a:lnTo>
                  <a:lnTo>
                    <a:pt x="5505" y="5521"/>
                  </a:lnTo>
                  <a:lnTo>
                    <a:pt x="11477" y="1481"/>
                  </a:lnTo>
                  <a:lnTo>
                    <a:pt x="18789" y="0"/>
                  </a:lnTo>
                  <a:lnTo>
                    <a:pt x="26100" y="1481"/>
                  </a:lnTo>
                  <a:lnTo>
                    <a:pt x="32072" y="5521"/>
                  </a:lnTo>
                  <a:lnTo>
                    <a:pt x="36100" y="11512"/>
                  </a:lnTo>
                  <a:lnTo>
                    <a:pt x="37578" y="18845"/>
                  </a:lnTo>
                  <a:lnTo>
                    <a:pt x="37578" y="396221"/>
                  </a:lnTo>
                  <a:lnTo>
                    <a:pt x="93945" y="396221"/>
                  </a:lnTo>
                  <a:lnTo>
                    <a:pt x="93945" y="188923"/>
                  </a:lnTo>
                  <a:lnTo>
                    <a:pt x="131523" y="188923"/>
                  </a:lnTo>
                  <a:lnTo>
                    <a:pt x="131523" y="396221"/>
                  </a:lnTo>
                  <a:lnTo>
                    <a:pt x="187890" y="396221"/>
                  </a:lnTo>
                  <a:lnTo>
                    <a:pt x="187890" y="87046"/>
                  </a:lnTo>
                  <a:lnTo>
                    <a:pt x="189367" y="79713"/>
                  </a:lnTo>
                  <a:lnTo>
                    <a:pt x="193395" y="73722"/>
                  </a:lnTo>
                  <a:lnTo>
                    <a:pt x="199368" y="69682"/>
                  </a:lnTo>
                  <a:lnTo>
                    <a:pt x="206679" y="68200"/>
                  </a:lnTo>
                  <a:lnTo>
                    <a:pt x="213990" y="69682"/>
                  </a:lnTo>
                  <a:lnTo>
                    <a:pt x="219963" y="73722"/>
                  </a:lnTo>
                  <a:lnTo>
                    <a:pt x="223991" y="79713"/>
                  </a:lnTo>
                  <a:lnTo>
                    <a:pt x="225468" y="87046"/>
                  </a:lnTo>
                  <a:lnTo>
                    <a:pt x="225468" y="433911"/>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3" cstate="print"/>
            <a:stretch>
              <a:fillRect/>
            </a:stretch>
          </p:blipFill>
          <p:spPr>
            <a:xfrm>
              <a:off x="1098031" y="5253021"/>
              <a:ext cx="187890" cy="188452"/>
            </a:xfrm>
            <a:prstGeom prst="rect">
              <a:avLst/>
            </a:prstGeom>
          </p:spPr>
        </p:pic>
        <p:sp>
          <p:nvSpPr>
            <p:cNvPr id="8" name="object 8"/>
            <p:cNvSpPr/>
            <p:nvPr/>
          </p:nvSpPr>
          <p:spPr>
            <a:xfrm>
              <a:off x="374396" y="4488827"/>
              <a:ext cx="1050925" cy="1508125"/>
            </a:xfrm>
            <a:custGeom>
              <a:avLst/>
              <a:gdLst/>
              <a:ahLst/>
              <a:cxnLst/>
              <a:rect l="l" t="t" r="r" b="b"/>
              <a:pathLst>
                <a:path w="1050925" h="1508125">
                  <a:moveTo>
                    <a:pt x="433247" y="131927"/>
                  </a:moveTo>
                  <a:lnTo>
                    <a:pt x="426542" y="90220"/>
                  </a:lnTo>
                  <a:lnTo>
                    <a:pt x="407873" y="54013"/>
                  </a:lnTo>
                  <a:lnTo>
                    <a:pt x="395668" y="41770"/>
                  </a:lnTo>
                  <a:lnTo>
                    <a:pt x="395668" y="131927"/>
                  </a:lnTo>
                  <a:lnTo>
                    <a:pt x="388277" y="168592"/>
                  </a:lnTo>
                  <a:lnTo>
                    <a:pt x="368147" y="198551"/>
                  </a:lnTo>
                  <a:lnTo>
                    <a:pt x="338289" y="218744"/>
                  </a:lnTo>
                  <a:lnTo>
                    <a:pt x="301726" y="226148"/>
                  </a:lnTo>
                  <a:lnTo>
                    <a:pt x="265163" y="218744"/>
                  </a:lnTo>
                  <a:lnTo>
                    <a:pt x="235292" y="198551"/>
                  </a:lnTo>
                  <a:lnTo>
                    <a:pt x="215163" y="168592"/>
                  </a:lnTo>
                  <a:lnTo>
                    <a:pt x="207772" y="131927"/>
                  </a:lnTo>
                  <a:lnTo>
                    <a:pt x="215188" y="95262"/>
                  </a:lnTo>
                  <a:lnTo>
                    <a:pt x="235318" y="65328"/>
                  </a:lnTo>
                  <a:lnTo>
                    <a:pt x="265176" y="45123"/>
                  </a:lnTo>
                  <a:lnTo>
                    <a:pt x="301726" y="37693"/>
                  </a:lnTo>
                  <a:lnTo>
                    <a:pt x="338289" y="45097"/>
                  </a:lnTo>
                  <a:lnTo>
                    <a:pt x="368147" y="65303"/>
                  </a:lnTo>
                  <a:lnTo>
                    <a:pt x="388277" y="95250"/>
                  </a:lnTo>
                  <a:lnTo>
                    <a:pt x="395668" y="131927"/>
                  </a:lnTo>
                  <a:lnTo>
                    <a:pt x="395668" y="41770"/>
                  </a:lnTo>
                  <a:lnTo>
                    <a:pt x="391604" y="37693"/>
                  </a:lnTo>
                  <a:lnTo>
                    <a:pt x="379399" y="25463"/>
                  </a:lnTo>
                  <a:lnTo>
                    <a:pt x="343293" y="6731"/>
                  </a:lnTo>
                  <a:lnTo>
                    <a:pt x="301726" y="0"/>
                  </a:lnTo>
                  <a:lnTo>
                    <a:pt x="260146" y="6731"/>
                  </a:lnTo>
                  <a:lnTo>
                    <a:pt x="224040" y="25463"/>
                  </a:lnTo>
                  <a:lnTo>
                    <a:pt x="195580" y="54013"/>
                  </a:lnTo>
                  <a:lnTo>
                    <a:pt x="176898" y="90220"/>
                  </a:lnTo>
                  <a:lnTo>
                    <a:pt x="170192" y="131927"/>
                  </a:lnTo>
                  <a:lnTo>
                    <a:pt x="176936" y="173596"/>
                  </a:lnTo>
                  <a:lnTo>
                    <a:pt x="195618" y="209791"/>
                  </a:lnTo>
                  <a:lnTo>
                    <a:pt x="224078" y="238340"/>
                  </a:lnTo>
                  <a:lnTo>
                    <a:pt x="260172" y="257086"/>
                  </a:lnTo>
                  <a:lnTo>
                    <a:pt x="301726" y="263842"/>
                  </a:lnTo>
                  <a:lnTo>
                    <a:pt x="343293" y="257111"/>
                  </a:lnTo>
                  <a:lnTo>
                    <a:pt x="379399" y="238391"/>
                  </a:lnTo>
                  <a:lnTo>
                    <a:pt x="391604" y="226148"/>
                  </a:lnTo>
                  <a:lnTo>
                    <a:pt x="407873" y="209829"/>
                  </a:lnTo>
                  <a:lnTo>
                    <a:pt x="426542" y="173621"/>
                  </a:lnTo>
                  <a:lnTo>
                    <a:pt x="433247" y="131927"/>
                  </a:lnTo>
                  <a:close/>
                </a:path>
                <a:path w="1050925" h="1508125">
                  <a:moveTo>
                    <a:pt x="452056" y="527278"/>
                  </a:moveTo>
                  <a:lnTo>
                    <a:pt x="450570" y="519938"/>
                  </a:lnTo>
                  <a:lnTo>
                    <a:pt x="446544" y="513956"/>
                  </a:lnTo>
                  <a:lnTo>
                    <a:pt x="440575" y="509917"/>
                  </a:lnTo>
                  <a:lnTo>
                    <a:pt x="433260" y="508431"/>
                  </a:lnTo>
                  <a:lnTo>
                    <a:pt x="425958" y="509917"/>
                  </a:lnTo>
                  <a:lnTo>
                    <a:pt x="419976" y="513956"/>
                  </a:lnTo>
                  <a:lnTo>
                    <a:pt x="415950" y="519938"/>
                  </a:lnTo>
                  <a:lnTo>
                    <a:pt x="414477" y="527278"/>
                  </a:lnTo>
                  <a:lnTo>
                    <a:pt x="414286" y="1469936"/>
                  </a:lnTo>
                  <a:lnTo>
                    <a:pt x="320509" y="1469936"/>
                  </a:lnTo>
                  <a:lnTo>
                    <a:pt x="320509" y="942263"/>
                  </a:lnTo>
                  <a:lnTo>
                    <a:pt x="282930" y="942263"/>
                  </a:lnTo>
                  <a:lnTo>
                    <a:pt x="282930" y="1469936"/>
                  </a:lnTo>
                  <a:lnTo>
                    <a:pt x="188988" y="1469936"/>
                  </a:lnTo>
                  <a:lnTo>
                    <a:pt x="188988" y="527278"/>
                  </a:lnTo>
                  <a:lnTo>
                    <a:pt x="170192" y="508431"/>
                  </a:lnTo>
                  <a:lnTo>
                    <a:pt x="162890" y="509917"/>
                  </a:lnTo>
                  <a:lnTo>
                    <a:pt x="156908" y="513956"/>
                  </a:lnTo>
                  <a:lnTo>
                    <a:pt x="152882" y="519938"/>
                  </a:lnTo>
                  <a:lnTo>
                    <a:pt x="151409" y="527278"/>
                  </a:lnTo>
                  <a:lnTo>
                    <a:pt x="151409" y="1507629"/>
                  </a:lnTo>
                  <a:lnTo>
                    <a:pt x="451866" y="1507629"/>
                  </a:lnTo>
                  <a:lnTo>
                    <a:pt x="452056" y="527278"/>
                  </a:lnTo>
                  <a:close/>
                </a:path>
                <a:path w="1050925" h="1508125">
                  <a:moveTo>
                    <a:pt x="1050531" y="1265669"/>
                  </a:moveTo>
                  <a:lnTo>
                    <a:pt x="1046137" y="1239850"/>
                  </a:lnTo>
                  <a:lnTo>
                    <a:pt x="1045730" y="1238783"/>
                  </a:lnTo>
                  <a:lnTo>
                    <a:pt x="1045502" y="1238250"/>
                  </a:lnTo>
                  <a:lnTo>
                    <a:pt x="975550" y="1069911"/>
                  </a:lnTo>
                  <a:lnTo>
                    <a:pt x="951115" y="1037577"/>
                  </a:lnTo>
                  <a:lnTo>
                    <a:pt x="911212" y="1005166"/>
                  </a:lnTo>
                  <a:lnTo>
                    <a:pt x="871118" y="985215"/>
                  </a:lnTo>
                  <a:lnTo>
                    <a:pt x="815530" y="973493"/>
                  </a:lnTo>
                  <a:lnTo>
                    <a:pt x="805268" y="972934"/>
                  </a:lnTo>
                  <a:lnTo>
                    <a:pt x="703237" y="972934"/>
                  </a:lnTo>
                  <a:lnTo>
                    <a:pt x="642289" y="882738"/>
                  </a:lnTo>
                  <a:lnTo>
                    <a:pt x="610628" y="835888"/>
                  </a:lnTo>
                  <a:lnTo>
                    <a:pt x="606399" y="833056"/>
                  </a:lnTo>
                  <a:lnTo>
                    <a:pt x="601599" y="832116"/>
                  </a:lnTo>
                  <a:lnTo>
                    <a:pt x="566051" y="459994"/>
                  </a:lnTo>
                  <a:lnTo>
                    <a:pt x="551459" y="418414"/>
                  </a:lnTo>
                  <a:lnTo>
                    <a:pt x="511949" y="377532"/>
                  </a:lnTo>
                  <a:lnTo>
                    <a:pt x="479526" y="353822"/>
                  </a:lnTo>
                  <a:lnTo>
                    <a:pt x="453263" y="339191"/>
                  </a:lnTo>
                  <a:lnTo>
                    <a:pt x="444538" y="334327"/>
                  </a:lnTo>
                  <a:lnTo>
                    <a:pt x="407085" y="319163"/>
                  </a:lnTo>
                  <a:lnTo>
                    <a:pt x="355219" y="305943"/>
                  </a:lnTo>
                  <a:lnTo>
                    <a:pt x="301866" y="301536"/>
                  </a:lnTo>
                  <a:lnTo>
                    <a:pt x="275094" y="302717"/>
                  </a:lnTo>
                  <a:lnTo>
                    <a:pt x="222364" y="311518"/>
                  </a:lnTo>
                  <a:lnTo>
                    <a:pt x="158978" y="334327"/>
                  </a:lnTo>
                  <a:lnTo>
                    <a:pt x="123609" y="354076"/>
                  </a:lnTo>
                  <a:lnTo>
                    <a:pt x="90944" y="378040"/>
                  </a:lnTo>
                  <a:lnTo>
                    <a:pt x="61417" y="405930"/>
                  </a:lnTo>
                  <a:lnTo>
                    <a:pt x="41109" y="442861"/>
                  </a:lnTo>
                  <a:lnTo>
                    <a:pt x="1879" y="832116"/>
                  </a:lnTo>
                  <a:lnTo>
                    <a:pt x="0" y="851204"/>
                  </a:lnTo>
                  <a:lnTo>
                    <a:pt x="17183" y="901128"/>
                  </a:lnTo>
                  <a:lnTo>
                    <a:pt x="56756" y="922604"/>
                  </a:lnTo>
                  <a:lnTo>
                    <a:pt x="72097" y="923417"/>
                  </a:lnTo>
                  <a:lnTo>
                    <a:pt x="79413" y="921943"/>
                  </a:lnTo>
                  <a:lnTo>
                    <a:pt x="85382" y="917905"/>
                  </a:lnTo>
                  <a:lnTo>
                    <a:pt x="89408" y="911910"/>
                  </a:lnTo>
                  <a:lnTo>
                    <a:pt x="90893" y="904582"/>
                  </a:lnTo>
                  <a:lnTo>
                    <a:pt x="89408" y="897242"/>
                  </a:lnTo>
                  <a:lnTo>
                    <a:pt x="85382" y="891260"/>
                  </a:lnTo>
                  <a:lnTo>
                    <a:pt x="79413" y="887209"/>
                  </a:lnTo>
                  <a:lnTo>
                    <a:pt x="72136" y="885736"/>
                  </a:lnTo>
                  <a:lnTo>
                    <a:pt x="64808" y="885621"/>
                  </a:lnTo>
                  <a:lnTo>
                    <a:pt x="57797" y="883983"/>
                  </a:lnTo>
                  <a:lnTo>
                    <a:pt x="37630" y="847686"/>
                  </a:lnTo>
                  <a:lnTo>
                    <a:pt x="39090" y="837653"/>
                  </a:lnTo>
                  <a:lnTo>
                    <a:pt x="74650" y="465480"/>
                  </a:lnTo>
                  <a:lnTo>
                    <a:pt x="115658" y="406488"/>
                  </a:lnTo>
                  <a:lnTo>
                    <a:pt x="175653" y="368147"/>
                  </a:lnTo>
                  <a:lnTo>
                    <a:pt x="254914" y="343090"/>
                  </a:lnTo>
                  <a:lnTo>
                    <a:pt x="301942" y="339191"/>
                  </a:lnTo>
                  <a:lnTo>
                    <a:pt x="348983" y="343090"/>
                  </a:lnTo>
                  <a:lnTo>
                    <a:pt x="395046" y="354787"/>
                  </a:lnTo>
                  <a:lnTo>
                    <a:pt x="458863" y="385140"/>
                  </a:lnTo>
                  <a:lnTo>
                    <a:pt x="513422" y="430161"/>
                  </a:lnTo>
                  <a:lnTo>
                    <a:pt x="564603" y="838454"/>
                  </a:lnTo>
                  <a:lnTo>
                    <a:pt x="565886" y="847686"/>
                  </a:lnTo>
                  <a:lnTo>
                    <a:pt x="545731" y="884008"/>
                  </a:lnTo>
                  <a:lnTo>
                    <a:pt x="531355" y="885736"/>
                  </a:lnTo>
                  <a:lnTo>
                    <a:pt x="524052" y="887209"/>
                  </a:lnTo>
                  <a:lnTo>
                    <a:pt x="518071" y="891260"/>
                  </a:lnTo>
                  <a:lnTo>
                    <a:pt x="514045" y="897242"/>
                  </a:lnTo>
                  <a:lnTo>
                    <a:pt x="512572" y="904582"/>
                  </a:lnTo>
                  <a:lnTo>
                    <a:pt x="514045" y="911910"/>
                  </a:lnTo>
                  <a:lnTo>
                    <a:pt x="518071" y="917905"/>
                  </a:lnTo>
                  <a:lnTo>
                    <a:pt x="524052" y="921943"/>
                  </a:lnTo>
                  <a:lnTo>
                    <a:pt x="531355" y="923417"/>
                  </a:lnTo>
                  <a:lnTo>
                    <a:pt x="546696" y="922604"/>
                  </a:lnTo>
                  <a:lnTo>
                    <a:pt x="586282" y="901166"/>
                  </a:lnTo>
                  <a:lnTo>
                    <a:pt x="596900" y="882738"/>
                  </a:lnTo>
                  <a:lnTo>
                    <a:pt x="681278" y="1007529"/>
                  </a:lnTo>
                  <a:lnTo>
                    <a:pt x="687108" y="1010615"/>
                  </a:lnTo>
                  <a:lnTo>
                    <a:pt x="804494" y="1010615"/>
                  </a:lnTo>
                  <a:lnTo>
                    <a:pt x="808723" y="1010793"/>
                  </a:lnTo>
                  <a:lnTo>
                    <a:pt x="858037" y="1020521"/>
                  </a:lnTo>
                  <a:lnTo>
                    <a:pt x="909675" y="1050391"/>
                  </a:lnTo>
                  <a:lnTo>
                    <a:pt x="940231" y="1082624"/>
                  </a:lnTo>
                  <a:lnTo>
                    <a:pt x="1010818" y="1252728"/>
                  </a:lnTo>
                  <a:lnTo>
                    <a:pt x="1012990" y="1263738"/>
                  </a:lnTo>
                  <a:lnTo>
                    <a:pt x="1010856" y="1274356"/>
                  </a:lnTo>
                  <a:lnTo>
                    <a:pt x="1004900" y="1283411"/>
                  </a:lnTo>
                  <a:lnTo>
                    <a:pt x="995641" y="1289685"/>
                  </a:lnTo>
                  <a:lnTo>
                    <a:pt x="994943" y="1289964"/>
                  </a:lnTo>
                  <a:lnTo>
                    <a:pt x="988656" y="1293990"/>
                  </a:lnTo>
                  <a:lnTo>
                    <a:pt x="984529" y="1299908"/>
                  </a:lnTo>
                  <a:lnTo>
                    <a:pt x="982916" y="1306957"/>
                  </a:lnTo>
                  <a:lnTo>
                    <a:pt x="984173" y="1314335"/>
                  </a:lnTo>
                  <a:lnTo>
                    <a:pt x="986955" y="1321587"/>
                  </a:lnTo>
                  <a:lnTo>
                    <a:pt x="993927" y="1326388"/>
                  </a:lnTo>
                  <a:lnTo>
                    <a:pt x="1003998" y="1326388"/>
                  </a:lnTo>
                  <a:lnTo>
                    <a:pt x="1006297" y="1325956"/>
                  </a:lnTo>
                  <a:lnTo>
                    <a:pt x="1008456" y="1325130"/>
                  </a:lnTo>
                  <a:lnTo>
                    <a:pt x="1030478" y="1311046"/>
                  </a:lnTo>
                  <a:lnTo>
                    <a:pt x="1044905" y="1290320"/>
                  </a:lnTo>
                  <a:lnTo>
                    <a:pt x="1050531" y="1265669"/>
                  </a:lnTo>
                  <a:close/>
                </a:path>
              </a:pathLst>
            </a:custGeom>
            <a:solidFill>
              <a:srgbClr val="D1660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 name="object 9"/>
          <p:cNvGrpSpPr/>
          <p:nvPr/>
        </p:nvGrpSpPr>
        <p:grpSpPr>
          <a:xfrm>
            <a:off x="9170527" y="1828215"/>
            <a:ext cx="1518493" cy="1062129"/>
            <a:chOff x="7646528" y="1828216"/>
            <a:chExt cx="1200150" cy="963294"/>
          </a:xfrm>
        </p:grpSpPr>
        <p:sp>
          <p:nvSpPr>
            <p:cNvPr id="10" name="object 10"/>
            <p:cNvSpPr/>
            <p:nvPr/>
          </p:nvSpPr>
          <p:spPr>
            <a:xfrm>
              <a:off x="7646517" y="1997824"/>
              <a:ext cx="937260" cy="484505"/>
            </a:xfrm>
            <a:custGeom>
              <a:avLst/>
              <a:gdLst/>
              <a:ahLst/>
              <a:cxnLst/>
              <a:rect l="l" t="t" r="r" b="b"/>
              <a:pathLst>
                <a:path w="937259" h="484505">
                  <a:moveTo>
                    <a:pt x="430606" y="105270"/>
                  </a:moveTo>
                  <a:lnTo>
                    <a:pt x="424294" y="98945"/>
                  </a:lnTo>
                  <a:lnTo>
                    <a:pt x="408736" y="98945"/>
                  </a:lnTo>
                  <a:lnTo>
                    <a:pt x="402424" y="105270"/>
                  </a:lnTo>
                  <a:lnTo>
                    <a:pt x="402424" y="352348"/>
                  </a:lnTo>
                  <a:lnTo>
                    <a:pt x="430606" y="324078"/>
                  </a:lnTo>
                  <a:lnTo>
                    <a:pt x="430606" y="105270"/>
                  </a:lnTo>
                  <a:close/>
                </a:path>
                <a:path w="937259" h="484505">
                  <a:moveTo>
                    <a:pt x="543344" y="105270"/>
                  </a:moveTo>
                  <a:lnTo>
                    <a:pt x="537032" y="98945"/>
                  </a:lnTo>
                  <a:lnTo>
                    <a:pt x="521474" y="98945"/>
                  </a:lnTo>
                  <a:lnTo>
                    <a:pt x="515162" y="105270"/>
                  </a:lnTo>
                  <a:lnTo>
                    <a:pt x="515162" y="349923"/>
                  </a:lnTo>
                  <a:lnTo>
                    <a:pt x="543344" y="378180"/>
                  </a:lnTo>
                  <a:lnTo>
                    <a:pt x="543344" y="105270"/>
                  </a:lnTo>
                  <a:close/>
                </a:path>
                <a:path w="937259" h="484505">
                  <a:moveTo>
                    <a:pt x="736092" y="105270"/>
                  </a:moveTo>
                  <a:lnTo>
                    <a:pt x="729780" y="98945"/>
                  </a:lnTo>
                  <a:lnTo>
                    <a:pt x="714222" y="98945"/>
                  </a:lnTo>
                  <a:lnTo>
                    <a:pt x="707910" y="105270"/>
                  </a:lnTo>
                  <a:lnTo>
                    <a:pt x="707910" y="484098"/>
                  </a:lnTo>
                  <a:lnTo>
                    <a:pt x="736092" y="455841"/>
                  </a:lnTo>
                  <a:lnTo>
                    <a:pt x="736092" y="105270"/>
                  </a:lnTo>
                  <a:close/>
                </a:path>
                <a:path w="937259" h="484505">
                  <a:moveTo>
                    <a:pt x="792429" y="310946"/>
                  </a:moveTo>
                  <a:lnTo>
                    <a:pt x="764247" y="310946"/>
                  </a:lnTo>
                  <a:lnTo>
                    <a:pt x="764247" y="427596"/>
                  </a:lnTo>
                  <a:lnTo>
                    <a:pt x="792429" y="399338"/>
                  </a:lnTo>
                  <a:lnTo>
                    <a:pt x="792429" y="310946"/>
                  </a:lnTo>
                  <a:close/>
                </a:path>
                <a:path w="937259" h="484505">
                  <a:moveTo>
                    <a:pt x="848829" y="105270"/>
                  </a:moveTo>
                  <a:lnTo>
                    <a:pt x="842518" y="98933"/>
                  </a:lnTo>
                  <a:lnTo>
                    <a:pt x="826960" y="98933"/>
                  </a:lnTo>
                  <a:lnTo>
                    <a:pt x="820635" y="105270"/>
                  </a:lnTo>
                  <a:lnTo>
                    <a:pt x="820635" y="371043"/>
                  </a:lnTo>
                  <a:lnTo>
                    <a:pt x="848829" y="342773"/>
                  </a:lnTo>
                  <a:lnTo>
                    <a:pt x="848829" y="105270"/>
                  </a:lnTo>
                  <a:close/>
                </a:path>
                <a:path w="937259" h="484505">
                  <a:moveTo>
                    <a:pt x="936853" y="254419"/>
                  </a:moveTo>
                  <a:lnTo>
                    <a:pt x="905141" y="59131"/>
                  </a:lnTo>
                  <a:lnTo>
                    <a:pt x="876617" y="26987"/>
                  </a:lnTo>
                  <a:lnTo>
                    <a:pt x="830465" y="7099"/>
                  </a:lnTo>
                  <a:lnTo>
                    <a:pt x="791781" y="584"/>
                  </a:lnTo>
                  <a:lnTo>
                    <a:pt x="778687" y="0"/>
                  </a:lnTo>
                  <a:lnTo>
                    <a:pt x="765873" y="533"/>
                  </a:lnTo>
                  <a:lnTo>
                    <a:pt x="728052" y="7213"/>
                  </a:lnTo>
                  <a:lnTo>
                    <a:pt x="682053" y="27076"/>
                  </a:lnTo>
                  <a:lnTo>
                    <a:pt x="653415" y="60020"/>
                  </a:lnTo>
                  <a:lnTo>
                    <a:pt x="624509" y="214045"/>
                  </a:lnTo>
                  <a:lnTo>
                    <a:pt x="599668" y="59182"/>
                  </a:lnTo>
                  <a:lnTo>
                    <a:pt x="571131" y="27038"/>
                  </a:lnTo>
                  <a:lnTo>
                    <a:pt x="524979" y="7162"/>
                  </a:lnTo>
                  <a:lnTo>
                    <a:pt x="486308" y="596"/>
                  </a:lnTo>
                  <a:lnTo>
                    <a:pt x="473214" y="0"/>
                  </a:lnTo>
                  <a:lnTo>
                    <a:pt x="460400" y="533"/>
                  </a:lnTo>
                  <a:lnTo>
                    <a:pt x="422592" y="7213"/>
                  </a:lnTo>
                  <a:lnTo>
                    <a:pt x="376631" y="27076"/>
                  </a:lnTo>
                  <a:lnTo>
                    <a:pt x="347992" y="60020"/>
                  </a:lnTo>
                  <a:lnTo>
                    <a:pt x="317995" y="220040"/>
                  </a:lnTo>
                  <a:lnTo>
                    <a:pt x="317804" y="220040"/>
                  </a:lnTo>
                  <a:lnTo>
                    <a:pt x="287629" y="59207"/>
                  </a:lnTo>
                  <a:lnTo>
                    <a:pt x="259143" y="27076"/>
                  </a:lnTo>
                  <a:lnTo>
                    <a:pt x="213207" y="7239"/>
                  </a:lnTo>
                  <a:lnTo>
                    <a:pt x="175323" y="533"/>
                  </a:lnTo>
                  <a:lnTo>
                    <a:pt x="162483" y="0"/>
                  </a:lnTo>
                  <a:lnTo>
                    <a:pt x="149339" y="596"/>
                  </a:lnTo>
                  <a:lnTo>
                    <a:pt x="110515" y="7213"/>
                  </a:lnTo>
                  <a:lnTo>
                    <a:pt x="65049" y="26758"/>
                  </a:lnTo>
                  <a:lnTo>
                    <a:pt x="35826" y="60172"/>
                  </a:lnTo>
                  <a:lnTo>
                    <a:pt x="266" y="262559"/>
                  </a:lnTo>
                  <a:lnTo>
                    <a:pt x="0" y="277952"/>
                  </a:lnTo>
                  <a:lnTo>
                    <a:pt x="4394" y="292341"/>
                  </a:lnTo>
                  <a:lnTo>
                    <a:pt x="12941" y="304711"/>
                  </a:lnTo>
                  <a:lnTo>
                    <a:pt x="25171" y="314032"/>
                  </a:lnTo>
                  <a:lnTo>
                    <a:pt x="32118" y="317538"/>
                  </a:lnTo>
                  <a:lnTo>
                    <a:pt x="40601" y="314731"/>
                  </a:lnTo>
                  <a:lnTo>
                    <a:pt x="47561" y="300812"/>
                  </a:lnTo>
                  <a:lnTo>
                    <a:pt x="44818" y="292379"/>
                  </a:lnTo>
                  <a:lnTo>
                    <a:pt x="37934" y="288836"/>
                  </a:lnTo>
                  <a:lnTo>
                    <a:pt x="30454" y="284492"/>
                  </a:lnTo>
                  <a:lnTo>
                    <a:pt x="63398" y="66040"/>
                  </a:lnTo>
                  <a:lnTo>
                    <a:pt x="104254" y="38912"/>
                  </a:lnTo>
                  <a:lnTo>
                    <a:pt x="151142" y="28816"/>
                  </a:lnTo>
                  <a:lnTo>
                    <a:pt x="162509" y="28270"/>
                  </a:lnTo>
                  <a:lnTo>
                    <a:pt x="173494" y="28740"/>
                  </a:lnTo>
                  <a:lnTo>
                    <a:pt x="219265" y="38862"/>
                  </a:lnTo>
                  <a:lnTo>
                    <a:pt x="258089" y="60642"/>
                  </a:lnTo>
                  <a:lnTo>
                    <a:pt x="305460" y="307111"/>
                  </a:lnTo>
                  <a:lnTo>
                    <a:pt x="312826" y="312140"/>
                  </a:lnTo>
                  <a:lnTo>
                    <a:pt x="326174" y="309613"/>
                  </a:lnTo>
                  <a:lnTo>
                    <a:pt x="330606" y="305142"/>
                  </a:lnTo>
                  <a:lnTo>
                    <a:pt x="375907" y="63309"/>
                  </a:lnTo>
                  <a:lnTo>
                    <a:pt x="377405" y="60845"/>
                  </a:lnTo>
                  <a:lnTo>
                    <a:pt x="416509" y="38836"/>
                  </a:lnTo>
                  <a:lnTo>
                    <a:pt x="462254" y="28740"/>
                  </a:lnTo>
                  <a:lnTo>
                    <a:pt x="473214" y="28270"/>
                  </a:lnTo>
                  <a:lnTo>
                    <a:pt x="484530" y="28803"/>
                  </a:lnTo>
                  <a:lnTo>
                    <a:pt x="531444" y="38925"/>
                  </a:lnTo>
                  <a:lnTo>
                    <a:pt x="568655" y="59448"/>
                  </a:lnTo>
                  <a:lnTo>
                    <a:pt x="610463" y="305828"/>
                  </a:lnTo>
                  <a:lnTo>
                    <a:pt x="616242" y="310857"/>
                  </a:lnTo>
                  <a:lnTo>
                    <a:pt x="629881" y="310870"/>
                  </a:lnTo>
                  <a:lnTo>
                    <a:pt x="635711" y="306095"/>
                  </a:lnTo>
                  <a:lnTo>
                    <a:pt x="637171" y="299427"/>
                  </a:lnTo>
                  <a:lnTo>
                    <a:pt x="681367" y="63309"/>
                  </a:lnTo>
                  <a:lnTo>
                    <a:pt x="682879" y="60833"/>
                  </a:lnTo>
                  <a:lnTo>
                    <a:pt x="721982" y="38836"/>
                  </a:lnTo>
                  <a:lnTo>
                    <a:pt x="767727" y="28740"/>
                  </a:lnTo>
                  <a:lnTo>
                    <a:pt x="778687" y="28270"/>
                  </a:lnTo>
                  <a:lnTo>
                    <a:pt x="789990" y="28803"/>
                  </a:lnTo>
                  <a:lnTo>
                    <a:pt x="836930" y="38925"/>
                  </a:lnTo>
                  <a:lnTo>
                    <a:pt x="874128" y="59448"/>
                  </a:lnTo>
                  <a:lnTo>
                    <a:pt x="912342" y="279107"/>
                  </a:lnTo>
                  <a:lnTo>
                    <a:pt x="936853" y="254419"/>
                  </a:lnTo>
                  <a:close/>
                </a:path>
              </a:pathLst>
            </a:custGeom>
            <a:solidFill>
              <a:srgbClr val="41786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11" name="object 11"/>
            <p:cNvPicPr/>
            <p:nvPr/>
          </p:nvPicPr>
          <p:blipFill>
            <a:blip r:embed="rId4" cstate="print"/>
            <a:stretch>
              <a:fillRect/>
            </a:stretch>
          </p:blipFill>
          <p:spPr>
            <a:xfrm>
              <a:off x="8048917" y="1828216"/>
              <a:ext cx="140917" cy="141339"/>
            </a:xfrm>
            <a:prstGeom prst="rect">
              <a:avLst/>
            </a:prstGeom>
          </p:spPr>
        </p:pic>
        <p:pic>
          <p:nvPicPr>
            <p:cNvPr id="12" name="object 12"/>
            <p:cNvPicPr/>
            <p:nvPr/>
          </p:nvPicPr>
          <p:blipFill>
            <a:blip r:embed="rId4" cstate="print"/>
            <a:stretch>
              <a:fillRect/>
            </a:stretch>
          </p:blipFill>
          <p:spPr>
            <a:xfrm>
              <a:off x="7738897" y="1828216"/>
              <a:ext cx="140917" cy="141339"/>
            </a:xfrm>
            <a:prstGeom prst="rect">
              <a:avLst/>
            </a:prstGeom>
          </p:spPr>
        </p:pic>
        <p:pic>
          <p:nvPicPr>
            <p:cNvPr id="13" name="object 13"/>
            <p:cNvPicPr/>
            <p:nvPr/>
          </p:nvPicPr>
          <p:blipFill>
            <a:blip r:embed="rId4" cstate="print"/>
            <a:stretch>
              <a:fillRect/>
            </a:stretch>
          </p:blipFill>
          <p:spPr>
            <a:xfrm>
              <a:off x="8354399" y="1828217"/>
              <a:ext cx="140917" cy="141339"/>
            </a:xfrm>
            <a:prstGeom prst="rect">
              <a:avLst/>
            </a:prstGeom>
          </p:spPr>
        </p:pic>
        <p:sp>
          <p:nvSpPr>
            <p:cNvPr id="14" name="object 14"/>
            <p:cNvSpPr/>
            <p:nvPr/>
          </p:nvSpPr>
          <p:spPr>
            <a:xfrm>
              <a:off x="7685176" y="2068499"/>
              <a:ext cx="1161415" cy="722630"/>
            </a:xfrm>
            <a:custGeom>
              <a:avLst/>
              <a:gdLst/>
              <a:ahLst/>
              <a:cxnLst/>
              <a:rect l="l" t="t" r="r" b="b"/>
              <a:pathLst>
                <a:path w="1161415" h="722630">
                  <a:moveTo>
                    <a:pt x="248412" y="339458"/>
                  </a:moveTo>
                  <a:lnTo>
                    <a:pt x="240563" y="311137"/>
                  </a:lnTo>
                  <a:lnTo>
                    <a:pt x="194678" y="145237"/>
                  </a:lnTo>
                  <a:lnTo>
                    <a:pt x="194614" y="34544"/>
                  </a:lnTo>
                  <a:lnTo>
                    <a:pt x="188366" y="28270"/>
                  </a:lnTo>
                  <a:lnTo>
                    <a:pt x="172808" y="28270"/>
                  </a:lnTo>
                  <a:lnTo>
                    <a:pt x="166547" y="34544"/>
                  </a:lnTo>
                  <a:lnTo>
                    <a:pt x="166484" y="147180"/>
                  </a:lnTo>
                  <a:lnTo>
                    <a:pt x="211391" y="311137"/>
                  </a:lnTo>
                  <a:lnTo>
                    <a:pt x="110121" y="311137"/>
                  </a:lnTo>
                  <a:lnTo>
                    <a:pt x="110121" y="339458"/>
                  </a:lnTo>
                  <a:lnTo>
                    <a:pt x="110121" y="523265"/>
                  </a:lnTo>
                  <a:lnTo>
                    <a:pt x="81940" y="523265"/>
                  </a:lnTo>
                  <a:lnTo>
                    <a:pt x="81940" y="339458"/>
                  </a:lnTo>
                  <a:lnTo>
                    <a:pt x="110121" y="339458"/>
                  </a:lnTo>
                  <a:lnTo>
                    <a:pt x="110121" y="311137"/>
                  </a:lnTo>
                  <a:lnTo>
                    <a:pt x="37058" y="311137"/>
                  </a:lnTo>
                  <a:lnTo>
                    <a:pt x="81940" y="149047"/>
                  </a:lnTo>
                  <a:lnTo>
                    <a:pt x="81940" y="34544"/>
                  </a:lnTo>
                  <a:lnTo>
                    <a:pt x="75628" y="28219"/>
                  </a:lnTo>
                  <a:lnTo>
                    <a:pt x="60071" y="28219"/>
                  </a:lnTo>
                  <a:lnTo>
                    <a:pt x="53759" y="34544"/>
                  </a:lnTo>
                  <a:lnTo>
                    <a:pt x="53746" y="145237"/>
                  </a:lnTo>
                  <a:lnTo>
                    <a:pt x="0" y="339458"/>
                  </a:lnTo>
                  <a:lnTo>
                    <a:pt x="53759" y="339458"/>
                  </a:lnTo>
                  <a:lnTo>
                    <a:pt x="53759" y="551535"/>
                  </a:lnTo>
                  <a:lnTo>
                    <a:pt x="94716" y="551535"/>
                  </a:lnTo>
                  <a:lnTo>
                    <a:pt x="122897" y="523265"/>
                  </a:lnTo>
                  <a:lnTo>
                    <a:pt x="138264" y="507847"/>
                  </a:lnTo>
                  <a:lnTo>
                    <a:pt x="138264" y="339458"/>
                  </a:lnTo>
                  <a:lnTo>
                    <a:pt x="166446" y="339458"/>
                  </a:lnTo>
                  <a:lnTo>
                    <a:pt x="166446" y="479539"/>
                  </a:lnTo>
                  <a:lnTo>
                    <a:pt x="194627" y="451269"/>
                  </a:lnTo>
                  <a:lnTo>
                    <a:pt x="194627" y="339458"/>
                  </a:lnTo>
                  <a:lnTo>
                    <a:pt x="248412" y="339458"/>
                  </a:lnTo>
                  <a:close/>
                </a:path>
                <a:path w="1161415" h="722630">
                  <a:moveTo>
                    <a:pt x="1161161" y="0"/>
                  </a:moveTo>
                  <a:lnTo>
                    <a:pt x="963879" y="0"/>
                  </a:lnTo>
                  <a:lnTo>
                    <a:pt x="956094" y="0"/>
                  </a:lnTo>
                  <a:lnTo>
                    <a:pt x="949782" y="6337"/>
                  </a:lnTo>
                  <a:lnTo>
                    <a:pt x="949782" y="21932"/>
                  </a:lnTo>
                  <a:lnTo>
                    <a:pt x="956094" y="28270"/>
                  </a:lnTo>
                  <a:lnTo>
                    <a:pt x="1112888" y="28270"/>
                  </a:lnTo>
                  <a:lnTo>
                    <a:pt x="639762" y="502970"/>
                  </a:lnTo>
                  <a:lnTo>
                    <a:pt x="421335" y="283895"/>
                  </a:lnTo>
                  <a:lnTo>
                    <a:pt x="4165" y="702132"/>
                  </a:lnTo>
                  <a:lnTo>
                    <a:pt x="4013" y="711085"/>
                  </a:lnTo>
                  <a:lnTo>
                    <a:pt x="14820" y="722299"/>
                  </a:lnTo>
                  <a:lnTo>
                    <a:pt x="23736" y="722464"/>
                  </a:lnTo>
                  <a:lnTo>
                    <a:pt x="421335" y="323862"/>
                  </a:lnTo>
                  <a:lnTo>
                    <a:pt x="639762" y="542937"/>
                  </a:lnTo>
                  <a:lnTo>
                    <a:pt x="1132979" y="48590"/>
                  </a:lnTo>
                  <a:lnTo>
                    <a:pt x="1132979" y="205676"/>
                  </a:lnTo>
                  <a:lnTo>
                    <a:pt x="1139291" y="212013"/>
                  </a:lnTo>
                  <a:lnTo>
                    <a:pt x="1154849" y="212013"/>
                  </a:lnTo>
                  <a:lnTo>
                    <a:pt x="1161161" y="205676"/>
                  </a:lnTo>
                  <a:lnTo>
                    <a:pt x="1161161" y="0"/>
                  </a:lnTo>
                  <a:close/>
                </a:path>
              </a:pathLst>
            </a:custGeom>
            <a:solidFill>
              <a:srgbClr val="41786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 name="Rectangle 17"/>
          <p:cNvSpPr/>
          <p:nvPr/>
        </p:nvSpPr>
        <p:spPr>
          <a:xfrm>
            <a:off x="830317" y="470585"/>
            <a:ext cx="10363200" cy="83099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Redwood</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ity</a:t>
            </a:r>
            <a:r>
              <a:rPr kumimoji="0" lang="en-US" sz="2400" b="0" i="0" u="none" strike="noStrike" kern="1200" cap="none" spc="-15"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amp;</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North Fair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Oaks </a:t>
            </a:r>
            <a:r>
              <a:rPr kumimoji="0" lang="en-US" sz="2400" b="0" i="0" u="none" strike="noStrike" kern="1200" cap="none" spc="-54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Community</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Needs</a:t>
            </a:r>
            <a:r>
              <a:rPr kumimoji="0" lang="en-US" sz="2400" b="0" i="0" u="none" strike="noStrike" kern="1200" cap="none" spc="0" normalizeH="0" baseline="0" noProof="0" dirty="0">
                <a:ln>
                  <a:noFill/>
                </a:ln>
                <a:solidFill>
                  <a:prstClr val="black"/>
                </a:solidFill>
                <a:effectLst/>
                <a:uLnTx/>
                <a:uFillTx/>
                <a:latin typeface="Century Gothic"/>
                <a:ea typeface="+mn-ea"/>
                <a:cs typeface="Century Gothic"/>
              </a:rPr>
              <a:t> </a:t>
            </a:r>
            <a:r>
              <a:rPr kumimoji="0" lang="en-US" sz="2400" b="0" i="0" u="none" strike="noStrike" kern="1200" cap="none" spc="-10" normalizeH="0" baseline="0" noProof="0" dirty="0">
                <a:ln>
                  <a:noFill/>
                </a:ln>
                <a:solidFill>
                  <a:prstClr val="black"/>
                </a:solidFill>
                <a:effectLst/>
                <a:uLnTx/>
                <a:uFillTx/>
                <a:latin typeface="Century Gothic"/>
                <a:ea typeface="+mn-ea"/>
                <a:cs typeface="Century Gothic"/>
              </a:rPr>
              <a:t>Assessment </a:t>
            </a:r>
            <a:r>
              <a:rPr kumimoji="0" lang="en-US" sz="2400" b="0" i="0" u="none" strike="noStrike" kern="1200" cap="none" spc="-5" normalizeH="0" baseline="0" noProof="0" dirty="0">
                <a:ln>
                  <a:noFill/>
                </a:ln>
                <a:solidFill>
                  <a:prstClr val="black"/>
                </a:solidFill>
                <a:effectLst/>
                <a:uLnTx/>
                <a:uFillTx/>
                <a:latin typeface="Century Gothic"/>
                <a:ea typeface="+mn-ea"/>
                <a:cs typeface="Century Gothic"/>
              </a:rPr>
              <a:t> </a:t>
            </a:r>
            <a:endPar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5" normalizeH="0" baseline="0" noProof="0" dirty="0" smtClean="0">
                <a:ln>
                  <a:noFill/>
                </a:ln>
                <a:solidFill>
                  <a:prstClr val="black"/>
                </a:solidFill>
                <a:effectLst/>
                <a:uLnTx/>
                <a:uFillTx/>
                <a:latin typeface="Century Gothic"/>
                <a:ea typeface="+mn-ea"/>
                <a:cs typeface="Century Gothic"/>
              </a:rPr>
              <a:t>Key Takeaways</a:t>
            </a:r>
            <a:endParaRPr kumimoji="0" lang="en-US" sz="2400" b="0" i="0" u="none" strike="noStrike" kern="1200" cap="none" spc="0" normalizeH="0" baseline="0" noProof="0" dirty="0">
              <a:ln>
                <a:noFill/>
              </a:ln>
              <a:solidFill>
                <a:prstClr val="black"/>
              </a:solidFill>
              <a:effectLst/>
              <a:uLnTx/>
              <a:uFillTx/>
              <a:latin typeface="Century Gothic"/>
              <a:ea typeface="+mn-ea"/>
              <a:cs typeface="Century Gothic"/>
            </a:endParaRPr>
          </a:p>
        </p:txBody>
      </p:sp>
      <p:sp>
        <p:nvSpPr>
          <p:cNvPr id="19" name="object 8"/>
          <p:cNvSpPr txBox="1">
            <a:spLocks noGrp="1"/>
          </p:cNvSpPr>
          <p:nvPr>
            <p:ph type="ftr" sz="quarter" idx="5"/>
          </p:nvPr>
        </p:nvSpPr>
        <p:spPr>
          <a:xfrm>
            <a:off x="6983260" y="6553958"/>
            <a:ext cx="5008033" cy="104516"/>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600" b="1" i="0" u="none" strike="noStrike" kern="1200" cap="none" spc="30" normalizeH="0" baseline="0" noProof="0" dirty="0">
                <a:ln>
                  <a:noFill/>
                </a:ln>
                <a:solidFill>
                  <a:prstClr val="black"/>
                </a:solidFill>
                <a:effectLst/>
                <a:uLnTx/>
                <a:uFillTx/>
                <a:latin typeface="Century Gothic"/>
                <a:ea typeface="+mn-ea"/>
              </a:rPr>
              <a:t>J</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N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W</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4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G</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R</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D</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8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F</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R  </a:t>
            </a:r>
            <a:r>
              <a:rPr kumimoji="0" sz="600" b="1" i="0" u="none" strike="noStrike" kern="1200" cap="none" spc="5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Y</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H  </a:t>
            </a:r>
            <a:r>
              <a:rPr kumimoji="0" sz="600" b="1" i="0" u="none" strike="noStrike" kern="1200" cap="none" spc="6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A</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0" normalizeH="0" baseline="0" noProof="0" dirty="0">
                <a:ln>
                  <a:noFill/>
                </a:ln>
                <a:solidFill>
                  <a:prstClr val="black"/>
                </a:solidFill>
                <a:effectLst/>
                <a:uLnTx/>
                <a:uFillTx/>
                <a:latin typeface="Century Gothic"/>
                <a:ea typeface="+mn-ea"/>
              </a:rPr>
              <a:t> D  </a:t>
            </a:r>
            <a:r>
              <a:rPr kumimoji="0" sz="600" b="1" i="0" u="none" strike="noStrike" kern="1200" cap="none" spc="7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H</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0" normalizeH="0" baseline="0" noProof="0" dirty="0">
                <a:ln>
                  <a:noFill/>
                </a:ln>
                <a:solidFill>
                  <a:prstClr val="black"/>
                </a:solidFill>
                <a:effectLst/>
                <a:uLnTx/>
                <a:uFillTx/>
                <a:latin typeface="Century Gothic"/>
                <a:ea typeface="+mn-ea"/>
              </a:rPr>
              <a:t>R  </a:t>
            </a:r>
            <a:r>
              <a:rPr kumimoji="0" sz="600" b="1" i="0" u="none" strike="noStrike" kern="1200" cap="none" spc="6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C</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O</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M</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U</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N</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T</a:t>
            </a:r>
            <a:r>
              <a:rPr kumimoji="0" sz="600" b="1" i="0" u="none" strike="noStrike" kern="1200" cap="none" spc="0"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I</a:t>
            </a:r>
            <a:r>
              <a:rPr kumimoji="0" sz="600" b="1" i="0" u="none" strike="noStrike" kern="1200" cap="none" spc="-5" normalizeH="0" baseline="0" noProof="0" dirty="0">
                <a:ln>
                  <a:noFill/>
                </a:ln>
                <a:solidFill>
                  <a:prstClr val="black"/>
                </a:solidFill>
                <a:effectLst/>
                <a:uLnTx/>
                <a:uFillTx/>
                <a:latin typeface="Century Gothic"/>
                <a:ea typeface="+mn-ea"/>
              </a:rPr>
              <a:t> </a:t>
            </a:r>
            <a:r>
              <a:rPr kumimoji="0" sz="600" b="1" i="0" u="none" strike="noStrike" kern="1200" cap="none" spc="30" normalizeH="0" baseline="0" noProof="0" dirty="0">
                <a:ln>
                  <a:noFill/>
                </a:ln>
                <a:solidFill>
                  <a:prstClr val="black"/>
                </a:solidFill>
                <a:effectLst/>
                <a:uLnTx/>
                <a:uFillTx/>
                <a:latin typeface="Century Gothic"/>
                <a:ea typeface="+mn-ea"/>
              </a:rPr>
              <a:t>E</a:t>
            </a:r>
            <a:r>
              <a:rPr kumimoji="0" sz="600" b="1" i="0" u="none" strike="noStrike" kern="1200" cap="none" spc="0" normalizeH="0" baseline="0" noProof="0" dirty="0">
                <a:ln>
                  <a:noFill/>
                </a:ln>
                <a:solidFill>
                  <a:prstClr val="black"/>
                </a:solidFill>
                <a:effectLst/>
                <a:uLnTx/>
                <a:uFillTx/>
                <a:latin typeface="Century Gothic"/>
                <a:ea typeface="+mn-ea"/>
              </a:rPr>
              <a:t> S</a:t>
            </a:r>
            <a:r>
              <a:rPr kumimoji="0" sz="600" b="1" i="0" u="none" strike="noStrike" kern="1200" cap="none" spc="30" normalizeH="0" baseline="0" noProof="0" dirty="0">
                <a:ln>
                  <a:noFill/>
                </a:ln>
                <a:solidFill>
                  <a:prstClr val="black"/>
                </a:solidFill>
                <a:effectLst/>
                <a:uLnTx/>
                <a:uFillTx/>
                <a:latin typeface="Century Gothic"/>
                <a:ea typeface="+mn-ea"/>
              </a:rPr>
              <a:t> </a:t>
            </a:r>
          </a:p>
        </p:txBody>
      </p:sp>
      <p:sp>
        <p:nvSpPr>
          <p:cNvPr id="20" name="TextBox 19"/>
          <p:cNvSpPr txBox="1"/>
          <p:nvPr/>
        </p:nvSpPr>
        <p:spPr>
          <a:xfrm>
            <a:off x="199696" y="6421550"/>
            <a:ext cx="38947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Source:  </a:t>
            </a:r>
            <a:r>
              <a:rPr kumimoji="0" lang="en-US" sz="1400" b="0" i="0" u="none" strike="noStrike" kern="1200" cap="none" spc="0" normalizeH="0" baseline="0" noProof="0" dirty="0" smtClean="0">
                <a:ln>
                  <a:noFill/>
                </a:ln>
                <a:solidFill>
                  <a:prstClr val="black"/>
                </a:solidFill>
                <a:effectLst/>
                <a:uLnTx/>
                <a:uFillTx/>
                <a:latin typeface="Calibri"/>
                <a:ea typeface="+mn-ea"/>
                <a:cs typeface="+mn-cs"/>
                <a:hlinkClick r:id="rId5"/>
              </a:rPr>
              <a:t>Community Survey conducted spring 2021</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969701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0683" y="440344"/>
            <a:ext cx="10353762" cy="970450"/>
          </a:xfrm>
        </p:spPr>
        <p:txBody>
          <a:bodyPr>
            <a:normAutofit fontScale="90000"/>
          </a:bodyPr>
          <a:lstStyle/>
          <a:p>
            <a:r>
              <a:rPr lang="en-US" dirty="0" smtClean="0">
                <a:effectLst/>
              </a:rPr>
              <a:t>Cañada: c</a:t>
            </a:r>
            <a:r>
              <a:rPr lang="en-US" dirty="0" smtClean="0"/>
              <a:t>hanging enrollment patterns during COVID…</a:t>
            </a:r>
            <a:endParaRPr lang="en-US" dirty="0"/>
          </a:p>
        </p:txBody>
      </p:sp>
      <p:sp>
        <p:nvSpPr>
          <p:cNvPr id="6" name="TextBox 5"/>
          <p:cNvSpPr txBox="1"/>
          <p:nvPr/>
        </p:nvSpPr>
        <p:spPr>
          <a:xfrm>
            <a:off x="1482689" y="1496434"/>
            <a:ext cx="9641756"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smtClean="0">
                <a:ln>
                  <a:noFill/>
                </a:ln>
                <a:solidFill>
                  <a:prstClr val="white"/>
                </a:solidFill>
                <a:effectLst/>
                <a:uLnTx/>
                <a:uFillTx/>
                <a:latin typeface="Calibri" panose="020F0502020204030204"/>
                <a:ea typeface="+mn-ea"/>
                <a:cs typeface="+mn-cs"/>
              </a:rPr>
              <a:t>Of our home campus students</a:t>
            </a:r>
            <a:r>
              <a:rPr kumimoji="0" lang="en-US" sz="2400" b="0" i="0" u="none" strike="noStrike" kern="1200" cap="none" spc="0" normalizeH="0" baseline="0" noProof="0" dirty="0" smtClean="0">
                <a:ln>
                  <a:noFill/>
                </a:ln>
                <a:solidFill>
                  <a:prstClr val="white"/>
                </a:solidFill>
                <a:effectLst/>
                <a:uLnTx/>
                <a:uFillTx/>
                <a:latin typeface="Calibri" panose="020F0502020204030204"/>
                <a:ea typeface="+mn-ea"/>
                <a:cs typeface="+mn-cs"/>
              </a:rPr>
              <a:t>, changes from Fall 2019 to Fall 2021:</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1" name="Table 10"/>
          <p:cNvGraphicFramePr>
            <a:graphicFrameLocks noGrp="1"/>
          </p:cNvGraphicFramePr>
          <p:nvPr>
            <p:extLst/>
          </p:nvPr>
        </p:nvGraphicFramePr>
        <p:xfrm>
          <a:off x="1604309" y="2413072"/>
          <a:ext cx="8029546" cy="3657600"/>
        </p:xfrm>
        <a:graphic>
          <a:graphicData uri="http://schemas.openxmlformats.org/drawingml/2006/table">
            <a:tbl>
              <a:tblPr firstRow="1" bandRow="1">
                <a:tableStyleId>{5940675A-B579-460E-94D1-54222C63F5DA}</a:tableStyleId>
              </a:tblPr>
              <a:tblGrid>
                <a:gridCol w="2715443">
                  <a:extLst>
                    <a:ext uri="{9D8B030D-6E8A-4147-A177-3AD203B41FA5}">
                      <a16:colId xmlns:a16="http://schemas.microsoft.com/office/drawing/2014/main" val="2029173915"/>
                    </a:ext>
                  </a:extLst>
                </a:gridCol>
                <a:gridCol w="5314103">
                  <a:extLst>
                    <a:ext uri="{9D8B030D-6E8A-4147-A177-3AD203B41FA5}">
                      <a16:colId xmlns:a16="http://schemas.microsoft.com/office/drawing/2014/main" val="3113039981"/>
                    </a:ext>
                  </a:extLst>
                </a:gridCol>
              </a:tblGrid>
              <a:tr h="457200">
                <a:tc>
                  <a:txBody>
                    <a:bodyPr/>
                    <a:lstStyle/>
                    <a:p>
                      <a:r>
                        <a:rPr lang="en-US" dirty="0" smtClean="0"/>
                        <a:t>ESL </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3% down from 12% (149 total in Fall 21)</a:t>
                      </a:r>
                    </a:p>
                  </a:txBody>
                  <a:tcPr/>
                </a:tc>
                <a:extLst>
                  <a:ext uri="{0D108BD9-81ED-4DB2-BD59-A6C34878D82A}">
                    <a16:rowId xmlns:a16="http://schemas.microsoft.com/office/drawing/2014/main" val="1384938850"/>
                  </a:ext>
                </a:extLst>
              </a:tr>
              <a:tr h="457200">
                <a:tc>
                  <a:txBody>
                    <a:bodyPr/>
                    <a:lstStyle/>
                    <a:p>
                      <a:r>
                        <a:rPr lang="en-US" dirty="0" smtClean="0"/>
                        <a:t>Low Income</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36% down from 48% </a:t>
                      </a:r>
                    </a:p>
                  </a:txBody>
                  <a:tcPr/>
                </a:tc>
                <a:extLst>
                  <a:ext uri="{0D108BD9-81ED-4DB2-BD59-A6C34878D82A}">
                    <a16:rowId xmlns:a16="http://schemas.microsoft.com/office/drawing/2014/main" val="4043192687"/>
                  </a:ext>
                </a:extLst>
              </a:tr>
              <a:tr h="457200">
                <a:tc>
                  <a:txBody>
                    <a:bodyPr/>
                    <a:lstStyle/>
                    <a:p>
                      <a:r>
                        <a:rPr lang="en-US" dirty="0" smtClean="0"/>
                        <a:t>First Time</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13% down from 16% </a:t>
                      </a:r>
                    </a:p>
                  </a:txBody>
                  <a:tcPr/>
                </a:tc>
                <a:extLst>
                  <a:ext uri="{0D108BD9-81ED-4DB2-BD59-A6C34878D82A}">
                    <a16:rowId xmlns:a16="http://schemas.microsoft.com/office/drawing/2014/main" val="2891016393"/>
                  </a:ext>
                </a:extLst>
              </a:tr>
              <a:tr h="457200">
                <a:tc>
                  <a:txBody>
                    <a:bodyPr/>
                    <a:lstStyle/>
                    <a:p>
                      <a:r>
                        <a:rPr lang="en-US" dirty="0" smtClean="0"/>
                        <a:t>Continuing</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66% up from 55% </a:t>
                      </a:r>
                    </a:p>
                  </a:txBody>
                  <a:tcPr/>
                </a:tc>
                <a:extLst>
                  <a:ext uri="{0D108BD9-81ED-4DB2-BD59-A6C34878D82A}">
                    <a16:rowId xmlns:a16="http://schemas.microsoft.com/office/drawing/2014/main" val="2017588554"/>
                  </a:ext>
                </a:extLst>
              </a:tr>
              <a:tr h="457200">
                <a:tc>
                  <a:txBody>
                    <a:bodyPr/>
                    <a:lstStyle/>
                    <a:p>
                      <a:r>
                        <a:rPr lang="en-US" dirty="0" smtClean="0"/>
                        <a:t>Female</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66% up from 60%; Male: 30% down from 37%</a:t>
                      </a:r>
                    </a:p>
                  </a:txBody>
                  <a:tcPr/>
                </a:tc>
                <a:extLst>
                  <a:ext uri="{0D108BD9-81ED-4DB2-BD59-A6C34878D82A}">
                    <a16:rowId xmlns:a16="http://schemas.microsoft.com/office/drawing/2014/main" val="4232323945"/>
                  </a:ext>
                </a:extLst>
              </a:tr>
              <a:tr h="457200">
                <a:tc>
                  <a:txBody>
                    <a:bodyPr/>
                    <a:lstStyle/>
                    <a:p>
                      <a:r>
                        <a:rPr lang="en-US" dirty="0" smtClean="0"/>
                        <a:t>Degree/Transfer</a:t>
                      </a:r>
                      <a:r>
                        <a:rPr lang="en-US" baseline="0" dirty="0" smtClean="0"/>
                        <a:t> Seeking</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66% up from 60%</a:t>
                      </a:r>
                    </a:p>
                  </a:txBody>
                  <a:tcPr/>
                </a:tc>
                <a:extLst>
                  <a:ext uri="{0D108BD9-81ED-4DB2-BD59-A6C34878D82A}">
                    <a16:rowId xmlns:a16="http://schemas.microsoft.com/office/drawing/2014/main" val="2948032636"/>
                  </a:ext>
                </a:extLst>
              </a:tr>
              <a:tr h="457200">
                <a:tc>
                  <a:txBody>
                    <a:bodyPr/>
                    <a:lstStyle/>
                    <a:p>
                      <a:r>
                        <a:rPr lang="en-US" dirty="0" smtClean="0"/>
                        <a:t>Exploratory</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white"/>
                          </a:solidFill>
                          <a:effectLst/>
                          <a:uLnTx/>
                          <a:uFillTx/>
                          <a:latin typeface="+mn-lt"/>
                          <a:ea typeface="+mn-ea"/>
                          <a:cs typeface="+mn-cs"/>
                        </a:rPr>
                        <a:t>15% down from 22% </a:t>
                      </a:r>
                      <a:endParaRPr lang="en-US" sz="2000" dirty="0"/>
                    </a:p>
                  </a:txBody>
                  <a:tcPr/>
                </a:tc>
                <a:extLst>
                  <a:ext uri="{0D108BD9-81ED-4DB2-BD59-A6C34878D82A}">
                    <a16:rowId xmlns:a16="http://schemas.microsoft.com/office/drawing/2014/main" val="273548725"/>
                  </a:ext>
                </a:extLst>
              </a:tr>
              <a:tr h="457200">
                <a:tc>
                  <a:txBody>
                    <a:bodyPr/>
                    <a:lstStyle/>
                    <a:p>
                      <a:r>
                        <a:rPr lang="en-US" dirty="0" smtClean="0"/>
                        <a:t>K-12 Students</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smtClean="0"/>
                        <a:t>6% down from 8%</a:t>
                      </a:r>
                      <a:endParaRPr lang="en-US" sz="2000" dirty="0"/>
                    </a:p>
                  </a:txBody>
                  <a:tcPr/>
                </a:tc>
                <a:extLst>
                  <a:ext uri="{0D108BD9-81ED-4DB2-BD59-A6C34878D82A}">
                    <a16:rowId xmlns:a16="http://schemas.microsoft.com/office/drawing/2014/main" val="3316571827"/>
                  </a:ext>
                </a:extLst>
              </a:tr>
            </a:tbl>
          </a:graphicData>
        </a:graphic>
      </p:graphicFrame>
      <p:sp>
        <p:nvSpPr>
          <p:cNvPr id="12" name="TextBox 11"/>
          <p:cNvSpPr txBox="1"/>
          <p:nvPr/>
        </p:nvSpPr>
        <p:spPr>
          <a:xfrm>
            <a:off x="9877451" y="2903811"/>
            <a:ext cx="1872345" cy="255454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Calibri" panose="020F0502020204030204"/>
                <a:ea typeface="+mn-ea"/>
                <a:cs typeface="+mn-cs"/>
              </a:rPr>
              <a:t>Overall, no significant shifts or disproportionate impact by age or race/ethnicity.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Calibri" panose="020F0502020204030204"/>
                <a:ea typeface="+mn-ea"/>
                <a:cs typeface="+mn-cs"/>
              </a:rPr>
              <a:t>However, our low income students are disproportionately Black and/or Latinx</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p:cNvCxnSpPr/>
          <p:nvPr/>
        </p:nvCxnSpPr>
        <p:spPr>
          <a:xfrm flipV="1">
            <a:off x="1338940" y="3819200"/>
            <a:ext cx="10886" cy="32369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360712" y="2413072"/>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328057" y="4330826"/>
            <a:ext cx="10886" cy="32369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1317172" y="4831571"/>
            <a:ext cx="10886" cy="32369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1360712" y="2903811"/>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1360712" y="3394656"/>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1317167" y="5299661"/>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317167" y="5712192"/>
            <a:ext cx="0" cy="319807"/>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1604309" y="6156313"/>
            <a:ext cx="5594902"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white"/>
                </a:solidFill>
                <a:effectLst/>
                <a:uLnTx/>
                <a:uFillTx/>
                <a:latin typeface="Calibri" panose="020F0502020204030204"/>
                <a:ea typeface="+mn-ea"/>
                <a:cs typeface="+mn-cs"/>
              </a:rPr>
              <a:t>Home campus is defined by the SMCCCD college from which the student is seeking a degree or certificat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326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with </a:t>
            </a:r>
            <a:r>
              <a:rPr lang="en-US" dirty="0" smtClean="0"/>
              <a:t>Equity:  Guidance</a:t>
            </a:r>
            <a:endParaRPr lang="en-US" dirty="0"/>
          </a:p>
        </p:txBody>
      </p:sp>
      <p:sp>
        <p:nvSpPr>
          <p:cNvPr id="3" name="Text Placeholder 2"/>
          <p:cNvSpPr>
            <a:spLocks noGrp="1"/>
          </p:cNvSpPr>
          <p:nvPr>
            <p:ph type="body" idx="1"/>
          </p:nvPr>
        </p:nvSpPr>
        <p:spPr/>
        <p:txBody>
          <a:bodyPr/>
          <a:lstStyle/>
          <a:p>
            <a:r>
              <a:rPr lang="en-US" dirty="0"/>
              <a:t>State &amp; System Guidance</a:t>
            </a:r>
          </a:p>
        </p:txBody>
      </p:sp>
      <p:sp>
        <p:nvSpPr>
          <p:cNvPr id="4" name="Content Placeholder 3"/>
          <p:cNvSpPr>
            <a:spLocks noGrp="1"/>
          </p:cNvSpPr>
          <p:nvPr>
            <p:ph sz="half" idx="2"/>
          </p:nvPr>
        </p:nvSpPr>
        <p:spPr>
          <a:ln>
            <a:noFill/>
          </a:ln>
        </p:spPr>
        <p:txBody>
          <a:bodyPr/>
          <a:lstStyle/>
          <a:p>
            <a:r>
              <a:rPr lang="en-US" sz="1600" dirty="0">
                <a:solidFill>
                  <a:schemeClr val="accent3">
                    <a:lumMod val="20000"/>
                    <a:lumOff val="80000"/>
                  </a:schemeClr>
                </a:solidFill>
                <a:effectLst/>
                <a:hlinkClick r:id="rId2"/>
              </a:rPr>
              <a:t>Recovery with Equity</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effectLst/>
                <a:hlinkClick r:id="rId3"/>
              </a:rPr>
              <a:t>Vision for Success:  Call to Action</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hlinkClick r:id="rId4"/>
              </a:rPr>
              <a:t>Diversity, Equity &amp; Inclusion Integration Plan</a:t>
            </a:r>
            <a:endParaRPr lang="en-US" sz="1600" dirty="0">
              <a:solidFill>
                <a:schemeClr val="accent3">
                  <a:lumMod val="20000"/>
                  <a:lumOff val="80000"/>
                </a:schemeClr>
              </a:solidFill>
            </a:endParaRPr>
          </a:p>
          <a:p>
            <a:r>
              <a:rPr lang="en-US" sz="1600" dirty="0">
                <a:solidFill>
                  <a:schemeClr val="accent3">
                    <a:lumMod val="20000"/>
                    <a:lumOff val="80000"/>
                  </a:schemeClr>
                </a:solidFill>
                <a:hlinkClick r:id="rId5"/>
              </a:rPr>
              <a:t>Guided Pathways:</a:t>
            </a:r>
            <a:r>
              <a:rPr lang="en-US" sz="1600" dirty="0">
                <a:solidFill>
                  <a:schemeClr val="accent3">
                    <a:lumMod val="20000"/>
                    <a:lumOff val="80000"/>
                  </a:schemeClr>
                </a:solidFill>
              </a:rPr>
              <a:t>  </a:t>
            </a:r>
            <a:r>
              <a:rPr lang="en-US" sz="1400" dirty="0">
                <a:solidFill>
                  <a:schemeClr val="accent3">
                    <a:lumMod val="20000"/>
                    <a:lumOff val="80000"/>
                  </a:schemeClr>
                </a:solidFill>
              </a:rPr>
              <a:t>more $$ and time</a:t>
            </a:r>
          </a:p>
          <a:p>
            <a:r>
              <a:rPr lang="en-US" sz="1600" dirty="0">
                <a:solidFill>
                  <a:schemeClr val="accent3">
                    <a:lumMod val="20000"/>
                    <a:lumOff val="80000"/>
                  </a:schemeClr>
                </a:solidFill>
                <a:hlinkClick r:id="rId6"/>
              </a:rPr>
              <a:t>Student Equity &amp; Achievement Program</a:t>
            </a:r>
            <a:r>
              <a:rPr lang="en-US" sz="1600" dirty="0"/>
              <a:t>:  </a:t>
            </a:r>
          </a:p>
          <a:p>
            <a:pPr lvl="1"/>
            <a:r>
              <a:rPr lang="en-US" sz="1400" dirty="0"/>
              <a:t>more $$ </a:t>
            </a:r>
          </a:p>
          <a:p>
            <a:pPr lvl="1"/>
            <a:r>
              <a:rPr lang="en-US" sz="1400" dirty="0">
                <a:hlinkClick r:id="rId7"/>
              </a:rPr>
              <a:t>Center for Urban Education</a:t>
            </a:r>
            <a:r>
              <a:rPr lang="en-US" sz="1400" dirty="0"/>
              <a:t> (CUE) feedback for our 2022-25 SEAP</a:t>
            </a:r>
          </a:p>
          <a:p>
            <a:endParaRPr lang="en-US" dirty="0"/>
          </a:p>
        </p:txBody>
      </p:sp>
      <p:sp>
        <p:nvSpPr>
          <p:cNvPr id="5" name="Text Placeholder 4"/>
          <p:cNvSpPr>
            <a:spLocks noGrp="1"/>
          </p:cNvSpPr>
          <p:nvPr>
            <p:ph type="body" sz="quarter" idx="3"/>
          </p:nvPr>
        </p:nvSpPr>
        <p:spPr/>
        <p:txBody>
          <a:bodyPr/>
          <a:lstStyle/>
          <a:p>
            <a:r>
              <a:rPr lang="en-US" dirty="0">
                <a:effectLst/>
              </a:rPr>
              <a:t>Cañada College</a:t>
            </a:r>
            <a:r>
              <a:rPr lang="en-US" dirty="0"/>
              <a:t> Guidance</a:t>
            </a:r>
            <a:endParaRPr lang="en-US" dirty="0">
              <a:effectLst/>
            </a:endParaRPr>
          </a:p>
        </p:txBody>
      </p:sp>
      <p:sp>
        <p:nvSpPr>
          <p:cNvPr id="6" name="Content Placeholder 5"/>
          <p:cNvSpPr>
            <a:spLocks noGrp="1"/>
          </p:cNvSpPr>
          <p:nvPr>
            <p:ph sz="quarter" idx="4"/>
          </p:nvPr>
        </p:nvSpPr>
        <p:spPr/>
        <p:txBody>
          <a:bodyPr>
            <a:normAutofit fontScale="92500"/>
          </a:bodyPr>
          <a:lstStyle/>
          <a:p>
            <a:r>
              <a:rPr lang="en-US" dirty="0">
                <a:hlinkClick r:id="rId8"/>
              </a:rPr>
              <a:t>College Mission, Vision &amp; Values</a:t>
            </a:r>
            <a:endParaRPr lang="en-US" dirty="0"/>
          </a:p>
          <a:p>
            <a:r>
              <a:rPr lang="en-US" dirty="0">
                <a:hlinkClick r:id="rId9"/>
              </a:rPr>
              <a:t>Guided Pathways implementation</a:t>
            </a:r>
            <a:endParaRPr lang="en-US" dirty="0"/>
          </a:p>
          <a:p>
            <a:r>
              <a:rPr lang="en-US" dirty="0">
                <a:hlinkClick r:id="rId10"/>
              </a:rPr>
              <a:t>Student Equity &amp; Achievement Plan </a:t>
            </a:r>
            <a:endParaRPr lang="en-US" dirty="0"/>
          </a:p>
          <a:p>
            <a:r>
              <a:rPr lang="en-US" dirty="0">
                <a:hlinkClick r:id="rId11"/>
              </a:rPr>
              <a:t>College Antiracism Task Force Recommendations</a:t>
            </a:r>
            <a:endParaRPr lang="en-US" dirty="0"/>
          </a:p>
          <a:p>
            <a:r>
              <a:rPr lang="en-US" dirty="0">
                <a:hlinkClick r:id="rId12"/>
              </a:rPr>
              <a:t>Cultural Center Focus Group Recommendations</a:t>
            </a:r>
            <a:endParaRPr lang="en-US" dirty="0"/>
          </a:p>
          <a:p>
            <a:r>
              <a:rPr lang="en-US" dirty="0">
                <a:hlinkClick r:id="rId13"/>
              </a:rPr>
              <a:t>Faculty, Staff, Student Survey Results</a:t>
            </a:r>
            <a:endParaRPr lang="en-US" dirty="0"/>
          </a:p>
          <a:p>
            <a:r>
              <a:rPr lang="en-US" dirty="0">
                <a:hlinkClick r:id="rId14"/>
              </a:rPr>
              <a:t>National Assessment of Collegiate Campus Climates </a:t>
            </a:r>
            <a:r>
              <a:rPr lang="en-US" dirty="0"/>
              <a:t>(NACCC) student survey results (expected September)</a:t>
            </a:r>
          </a:p>
          <a:p>
            <a:endParaRPr lang="en-US" dirty="0"/>
          </a:p>
          <a:p>
            <a:endParaRPr lang="en-US" dirty="0"/>
          </a:p>
        </p:txBody>
      </p:sp>
    </p:spTree>
    <p:extLst>
      <p:ext uri="{BB962C8B-B14F-4D97-AF65-F5344CB8AC3E}">
        <p14:creationId xmlns:p14="http://schemas.microsoft.com/office/powerpoint/2010/main" val="28643358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nvPr>
        </p:nvGraphicFramePr>
        <p:xfrm>
          <a:off x="2" y="2"/>
          <a:ext cx="12191998" cy="6956489"/>
        </p:xfrm>
        <a:graphic>
          <a:graphicData uri="http://schemas.openxmlformats.org/drawingml/2006/table">
            <a:tbl>
              <a:tblPr firstRow="1" bandRow="1">
                <a:tableStyleId>{5C22544A-7EE6-4342-B048-85BDC9FD1C3A}</a:tableStyleId>
              </a:tblPr>
              <a:tblGrid>
                <a:gridCol w="2473691">
                  <a:extLst>
                    <a:ext uri="{9D8B030D-6E8A-4147-A177-3AD203B41FA5}">
                      <a16:colId xmlns:a16="http://schemas.microsoft.com/office/drawing/2014/main" val="360353572"/>
                    </a:ext>
                  </a:extLst>
                </a:gridCol>
                <a:gridCol w="1240071">
                  <a:extLst>
                    <a:ext uri="{9D8B030D-6E8A-4147-A177-3AD203B41FA5}">
                      <a16:colId xmlns:a16="http://schemas.microsoft.com/office/drawing/2014/main" val="1059487302"/>
                    </a:ext>
                  </a:extLst>
                </a:gridCol>
                <a:gridCol w="1259054">
                  <a:extLst>
                    <a:ext uri="{9D8B030D-6E8A-4147-A177-3AD203B41FA5}">
                      <a16:colId xmlns:a16="http://schemas.microsoft.com/office/drawing/2014/main" val="3846449828"/>
                    </a:ext>
                  </a:extLst>
                </a:gridCol>
                <a:gridCol w="1340576">
                  <a:extLst>
                    <a:ext uri="{9D8B030D-6E8A-4147-A177-3AD203B41FA5}">
                      <a16:colId xmlns:a16="http://schemas.microsoft.com/office/drawing/2014/main" val="1538576391"/>
                    </a:ext>
                  </a:extLst>
                </a:gridCol>
                <a:gridCol w="1304344">
                  <a:extLst>
                    <a:ext uri="{9D8B030D-6E8A-4147-A177-3AD203B41FA5}">
                      <a16:colId xmlns:a16="http://schemas.microsoft.com/office/drawing/2014/main" val="2097506968"/>
                    </a:ext>
                  </a:extLst>
                </a:gridCol>
                <a:gridCol w="1068838">
                  <a:extLst>
                    <a:ext uri="{9D8B030D-6E8A-4147-A177-3AD203B41FA5}">
                      <a16:colId xmlns:a16="http://schemas.microsoft.com/office/drawing/2014/main" val="4215238395"/>
                    </a:ext>
                  </a:extLst>
                </a:gridCol>
                <a:gridCol w="1195649">
                  <a:extLst>
                    <a:ext uri="{9D8B030D-6E8A-4147-A177-3AD203B41FA5}">
                      <a16:colId xmlns:a16="http://schemas.microsoft.com/office/drawing/2014/main" val="471394366"/>
                    </a:ext>
                  </a:extLst>
                </a:gridCol>
                <a:gridCol w="1204707">
                  <a:extLst>
                    <a:ext uri="{9D8B030D-6E8A-4147-A177-3AD203B41FA5}">
                      <a16:colId xmlns:a16="http://schemas.microsoft.com/office/drawing/2014/main" val="4203598990"/>
                    </a:ext>
                  </a:extLst>
                </a:gridCol>
                <a:gridCol w="1105068">
                  <a:extLst>
                    <a:ext uri="{9D8B030D-6E8A-4147-A177-3AD203B41FA5}">
                      <a16:colId xmlns:a16="http://schemas.microsoft.com/office/drawing/2014/main" val="2192536186"/>
                    </a:ext>
                  </a:extLst>
                </a:gridCol>
              </a:tblGrid>
              <a:tr h="1062896">
                <a:tc>
                  <a:txBody>
                    <a:bodyPr/>
                    <a:lstStyle/>
                    <a:p>
                      <a:pPr algn="ctr"/>
                      <a:r>
                        <a:rPr lang="en-US" dirty="0"/>
                        <a:t>Equity &amp; Antiracism Area</a:t>
                      </a:r>
                      <a:r>
                        <a:rPr lang="en-US" baseline="0" dirty="0"/>
                        <a:t> of Focus</a:t>
                      </a:r>
                      <a:endParaRPr lang="en-US" dirty="0"/>
                    </a:p>
                  </a:txBody>
                  <a:tcPr anchor="ctr">
                    <a:solidFill>
                      <a:srgbClr val="006342"/>
                    </a:solidFill>
                  </a:tcPr>
                </a:tc>
                <a:tc>
                  <a:txBody>
                    <a:bodyPr/>
                    <a:lstStyle/>
                    <a:p>
                      <a:pPr algn="ctr"/>
                      <a:r>
                        <a:rPr lang="en-US" sz="1600" dirty="0"/>
                        <a:t>Recovery with Equity (CA)</a:t>
                      </a:r>
                      <a:endParaRPr lang="en-US" dirty="0"/>
                    </a:p>
                  </a:txBody>
                  <a:tcPr anchor="ctr">
                    <a:solidFill>
                      <a:srgbClr val="006342"/>
                    </a:solidFill>
                  </a:tcPr>
                </a:tc>
                <a:tc>
                  <a:txBody>
                    <a:bodyPr/>
                    <a:lstStyle/>
                    <a:p>
                      <a:pPr algn="ctr"/>
                      <a:r>
                        <a:rPr lang="en-US" sz="1600" dirty="0"/>
                        <a:t>Chancellor’s Call to</a:t>
                      </a:r>
                      <a:r>
                        <a:rPr lang="en-US" sz="1600" baseline="0" dirty="0"/>
                        <a:t> Action</a:t>
                      </a:r>
                      <a:endParaRPr lang="en-US" sz="1600" dirty="0"/>
                    </a:p>
                  </a:txBody>
                  <a:tcPr anchor="ctr">
                    <a:solidFill>
                      <a:srgbClr val="006342"/>
                    </a:solidFill>
                  </a:tcPr>
                </a:tc>
                <a:tc>
                  <a:txBody>
                    <a:bodyPr/>
                    <a:lstStyle/>
                    <a:p>
                      <a:pPr algn="ctr"/>
                      <a:r>
                        <a:rPr lang="en-US" sz="1600" dirty="0"/>
                        <a:t>College </a:t>
                      </a:r>
                      <a:r>
                        <a:rPr lang="en-US" sz="1600" dirty="0" smtClean="0"/>
                        <a:t>&amp; District Antiracism </a:t>
                      </a:r>
                      <a:r>
                        <a:rPr lang="en-US" sz="1600" dirty="0"/>
                        <a:t>TF Recs</a:t>
                      </a:r>
                    </a:p>
                  </a:txBody>
                  <a:tcPr anchor="ctr">
                    <a:solidFill>
                      <a:srgbClr val="006342"/>
                    </a:solidFill>
                  </a:tcPr>
                </a:tc>
                <a:tc>
                  <a:txBody>
                    <a:bodyPr/>
                    <a:lstStyle/>
                    <a:p>
                      <a:pPr algn="ctr"/>
                      <a:r>
                        <a:rPr lang="en-US" sz="1600" dirty="0"/>
                        <a:t>Cultural Center Focus Group</a:t>
                      </a:r>
                      <a:r>
                        <a:rPr lang="en-US" sz="1600" baseline="0" dirty="0"/>
                        <a:t> Recs</a:t>
                      </a:r>
                      <a:endParaRPr lang="en-US" sz="1600" dirty="0"/>
                    </a:p>
                  </a:txBody>
                  <a:tcPr anchor="ctr">
                    <a:solidFill>
                      <a:srgbClr val="006342"/>
                    </a:solidFill>
                  </a:tcPr>
                </a:tc>
                <a:tc>
                  <a:txBody>
                    <a:bodyPr/>
                    <a:lstStyle/>
                    <a:p>
                      <a:pPr algn="ctr"/>
                      <a:r>
                        <a:rPr lang="en-US" sz="1600" dirty="0"/>
                        <a:t>Guided Pathways</a:t>
                      </a:r>
                    </a:p>
                  </a:txBody>
                  <a:tcPr anchor="ctr">
                    <a:solidFill>
                      <a:srgbClr val="006342"/>
                    </a:solidFill>
                  </a:tcPr>
                </a:tc>
                <a:tc>
                  <a:txBody>
                    <a:bodyPr/>
                    <a:lstStyle/>
                    <a:p>
                      <a:pPr algn="ctr"/>
                      <a:r>
                        <a:rPr lang="en-US" sz="1600" dirty="0"/>
                        <a:t>Student</a:t>
                      </a:r>
                      <a:r>
                        <a:rPr lang="en-US" sz="1600" baseline="0" dirty="0"/>
                        <a:t> Equity &amp; </a:t>
                      </a:r>
                      <a:r>
                        <a:rPr lang="en-US" sz="1600" baseline="0" dirty="0" err="1"/>
                        <a:t>Achvmnt</a:t>
                      </a:r>
                      <a:r>
                        <a:rPr lang="en-US" sz="1600" baseline="0" dirty="0"/>
                        <a:t> Plan</a:t>
                      </a:r>
                      <a:endParaRPr lang="en-US" sz="1600" dirty="0"/>
                    </a:p>
                  </a:txBody>
                  <a:tcPr anchor="ctr">
                    <a:solidFill>
                      <a:srgbClr val="006342"/>
                    </a:solidFill>
                  </a:tcPr>
                </a:tc>
                <a:tc>
                  <a:txBody>
                    <a:bodyPr/>
                    <a:lstStyle/>
                    <a:p>
                      <a:pPr algn="ctr"/>
                      <a:r>
                        <a:rPr lang="en-US" sz="1600" dirty="0"/>
                        <a:t>EMP Strategic</a:t>
                      </a:r>
                      <a:r>
                        <a:rPr lang="en-US" sz="1600" baseline="0" dirty="0"/>
                        <a:t> Initiative</a:t>
                      </a:r>
                      <a:endParaRPr lang="en-US" sz="1600" dirty="0"/>
                    </a:p>
                  </a:txBody>
                  <a:tcPr anchor="ctr">
                    <a:solidFill>
                      <a:srgbClr val="006342"/>
                    </a:solidFill>
                  </a:tcPr>
                </a:tc>
                <a:tc>
                  <a:txBody>
                    <a:bodyPr/>
                    <a:lstStyle/>
                    <a:p>
                      <a:pPr algn="ctr"/>
                      <a:r>
                        <a:rPr lang="en-US" sz="1600" dirty="0"/>
                        <a:t>Progress</a:t>
                      </a:r>
                      <a:r>
                        <a:rPr lang="en-US" sz="1600" baseline="0" dirty="0"/>
                        <a:t> last year</a:t>
                      </a:r>
                      <a:endParaRPr lang="en-US" sz="1600" dirty="0"/>
                    </a:p>
                  </a:txBody>
                  <a:tcPr anchor="ctr">
                    <a:solidFill>
                      <a:srgbClr val="006342"/>
                    </a:solidFill>
                  </a:tcPr>
                </a:tc>
                <a:extLst>
                  <a:ext uri="{0D108BD9-81ED-4DB2-BD59-A6C34878D82A}">
                    <a16:rowId xmlns:a16="http://schemas.microsoft.com/office/drawing/2014/main" val="1132016796"/>
                  </a:ext>
                </a:extLst>
              </a:tr>
              <a:tr h="701754">
                <a:tc>
                  <a:txBody>
                    <a:bodyPr/>
                    <a:lstStyle/>
                    <a:p>
                      <a:r>
                        <a:rPr lang="en-US" sz="1400" dirty="0"/>
                        <a:t>Hiring</a:t>
                      </a:r>
                    </a:p>
                  </a:txBody>
                  <a:tcPr anchor="ctr"/>
                </a:tc>
                <a:tc>
                  <a:txBody>
                    <a:bodyPr/>
                    <a:lstStyle/>
                    <a:p>
                      <a:pPr algn="ctr"/>
                      <a:r>
                        <a:rPr lang="en-US" sz="1400" dirty="0"/>
                        <a:t>X</a:t>
                      </a:r>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extLst>
                  <a:ext uri="{0D108BD9-81ED-4DB2-BD59-A6C34878D82A}">
                    <a16:rowId xmlns:a16="http://schemas.microsoft.com/office/drawing/2014/main" val="1251344666"/>
                  </a:ext>
                </a:extLst>
              </a:tr>
              <a:tr h="701754">
                <a:tc>
                  <a:txBody>
                    <a:bodyPr/>
                    <a:lstStyle/>
                    <a:p>
                      <a:r>
                        <a:rPr lang="en-US" sz="1400" dirty="0"/>
                        <a:t>Professional Development </a:t>
                      </a:r>
                    </a:p>
                  </a:txBody>
                  <a:tcPr anchor="ctr"/>
                </a:tc>
                <a:tc>
                  <a:txBody>
                    <a:bodyPr/>
                    <a:lstStyle/>
                    <a:p>
                      <a:pPr algn="ctr"/>
                      <a:r>
                        <a:rPr lang="en-US" sz="1400" dirty="0"/>
                        <a:t>X</a:t>
                      </a:r>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extLst>
                  <a:ext uri="{0D108BD9-81ED-4DB2-BD59-A6C34878D82A}">
                    <a16:rowId xmlns:a16="http://schemas.microsoft.com/office/drawing/2014/main" val="2889224892"/>
                  </a:ext>
                </a:extLst>
              </a:tr>
              <a:tr h="70175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t>Create a sense of belonging</a:t>
                      </a:r>
                    </a:p>
                  </a:txBody>
                  <a:tcPr anchor="ct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extLst>
                  <a:ext uri="{0D108BD9-81ED-4DB2-BD59-A6C34878D82A}">
                    <a16:rowId xmlns:a16="http://schemas.microsoft.com/office/drawing/2014/main" val="665763892"/>
                  </a:ext>
                </a:extLst>
              </a:tr>
              <a:tr h="856643">
                <a:tc>
                  <a:txBody>
                    <a:bodyPr/>
                    <a:lstStyle/>
                    <a:p>
                      <a:pPr marL="5715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Ensure channels for safe reporting and addressing instances of </a:t>
                      </a:r>
                      <a:r>
                        <a:rPr lang="en-US" sz="1400" kern="1200" dirty="0" err="1">
                          <a:solidFill>
                            <a:schemeClr val="dk1"/>
                          </a:solidFill>
                          <a:latin typeface="+mn-lt"/>
                          <a:ea typeface="+mn-ea"/>
                          <a:cs typeface="+mn-cs"/>
                        </a:rPr>
                        <a:t>microaggression</a:t>
                      </a:r>
                      <a:r>
                        <a:rPr lang="en-US" sz="1400" kern="1200" dirty="0">
                          <a:solidFill>
                            <a:schemeClr val="dk1"/>
                          </a:solidFill>
                          <a:latin typeface="+mn-lt"/>
                          <a:ea typeface="+mn-ea"/>
                          <a:cs typeface="+mn-cs"/>
                        </a:rPr>
                        <a:t>, harassment or discrimination</a:t>
                      </a:r>
                    </a:p>
                  </a:txBody>
                  <a:tcPr marL="6350" marR="6350" marT="6350" marB="0" anchor="ct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extLst>
                  <a:ext uri="{0D108BD9-81ED-4DB2-BD59-A6C34878D82A}">
                    <a16:rowId xmlns:a16="http://schemas.microsoft.com/office/drawing/2014/main" val="2069652434"/>
                  </a:ext>
                </a:extLst>
              </a:tr>
              <a:tr h="97487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t>Re-envision curricula across disciplines to be antiracist and equity-centered</a:t>
                      </a:r>
                    </a:p>
                  </a:txBody>
                  <a:tcPr anchor="ctr"/>
                </a:tc>
                <a:tc>
                  <a:txBody>
                    <a:bodyPr/>
                    <a:lstStyle/>
                    <a:p>
                      <a:pPr algn="ctr"/>
                      <a:r>
                        <a:rPr lang="en-US" sz="1400" dirty="0"/>
                        <a:t>X</a:t>
                      </a:r>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extLst>
                  <a:ext uri="{0D108BD9-81ED-4DB2-BD59-A6C34878D82A}">
                    <a16:rowId xmlns:a16="http://schemas.microsoft.com/office/drawing/2014/main" val="937059364"/>
                  </a:ext>
                </a:extLst>
              </a:tr>
              <a:tr h="974879">
                <a:tc>
                  <a:txBody>
                    <a:bodyPr/>
                    <a:lstStyle/>
                    <a:p>
                      <a:pPr marL="5715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Integrate work-based learning throughout the disciplines</a:t>
                      </a:r>
                    </a:p>
                  </a:txBody>
                  <a:tcPr marL="6350" marR="6350" marT="6350" marB="0" anchor="ct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smtClean="0"/>
                        <a:t>X</a:t>
                      </a:r>
                      <a:endParaRPr lang="en-US" sz="1400" dirty="0"/>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extLst>
                  <a:ext uri="{0D108BD9-81ED-4DB2-BD59-A6C34878D82A}">
                    <a16:rowId xmlns:a16="http://schemas.microsoft.com/office/drawing/2014/main" val="3046896263"/>
                  </a:ext>
                </a:extLst>
              </a:tr>
              <a:tr h="974879">
                <a:tc>
                  <a:txBody>
                    <a:bodyPr/>
                    <a:lstStyle/>
                    <a:p>
                      <a:pPr marL="57150" indent="0" algn="l" fontAlgn="ctr"/>
                      <a:r>
                        <a:rPr lang="en-US" sz="1400" kern="1200" dirty="0">
                          <a:solidFill>
                            <a:schemeClr val="dk1"/>
                          </a:solidFill>
                          <a:latin typeface="+mn-lt"/>
                          <a:ea typeface="+mn-ea"/>
                          <a:cs typeface="+mn-cs"/>
                        </a:rPr>
                        <a:t>Work with our K12 partners to identify and dismantle barriers to A-G and early college course completion for all learners</a:t>
                      </a:r>
                    </a:p>
                  </a:txBody>
                  <a:tcPr marL="6350" marR="6350" marT="6350" marB="0" anchor="ctr"/>
                </a:tc>
                <a:tc>
                  <a:txBody>
                    <a:bodyPr/>
                    <a:lstStyle/>
                    <a:p>
                      <a:pPr algn="ctr"/>
                      <a:r>
                        <a:rPr lang="en-US" sz="1400" dirty="0"/>
                        <a:t>X</a:t>
                      </a:r>
                    </a:p>
                  </a:txBody>
                  <a:tcPr anchor="ctr">
                    <a:solidFill>
                      <a:schemeClr val="tx2">
                        <a:lumMod val="75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endParaRPr lang="en-US" sz="1400" dirty="0"/>
                    </a:p>
                  </a:txBody>
                  <a:tcPr anchor="ctr">
                    <a:solidFill>
                      <a:schemeClr val="accent3">
                        <a:lumMod val="20000"/>
                        <a:lumOff val="80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tc>
                  <a:txBody>
                    <a:bodyPr/>
                    <a:lstStyle/>
                    <a:p>
                      <a:pPr algn="ctr"/>
                      <a:r>
                        <a:rPr lang="en-US" sz="1400" dirty="0"/>
                        <a:t>X</a:t>
                      </a:r>
                    </a:p>
                  </a:txBody>
                  <a:tcPr anchor="ctr">
                    <a:solidFill>
                      <a:schemeClr val="tx2">
                        <a:lumMod val="75000"/>
                      </a:schemeClr>
                    </a:solidFill>
                  </a:tcPr>
                </a:tc>
                <a:extLst>
                  <a:ext uri="{0D108BD9-81ED-4DB2-BD59-A6C34878D82A}">
                    <a16:rowId xmlns:a16="http://schemas.microsoft.com/office/drawing/2014/main" val="335863872"/>
                  </a:ext>
                </a:extLst>
              </a:tr>
            </a:tbl>
          </a:graphicData>
        </a:graphic>
      </p:graphicFrame>
    </p:spTree>
    <p:extLst>
      <p:ext uri="{BB962C8B-B14F-4D97-AF65-F5344CB8AC3E}">
        <p14:creationId xmlns:p14="http://schemas.microsoft.com/office/powerpoint/2010/main" val="27740295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03090" y="79261"/>
            <a:ext cx="10862441" cy="6778739"/>
          </a:xfrm>
          <a:prstGeom prst="rect">
            <a:avLst/>
          </a:prstGeom>
        </p:spPr>
      </p:pic>
      <p:sp>
        <p:nvSpPr>
          <p:cNvPr id="3" name="TextBox 2"/>
          <p:cNvSpPr txBox="1"/>
          <p:nvPr/>
        </p:nvSpPr>
        <p:spPr>
          <a:xfrm rot="16200000">
            <a:off x="-2878113" y="3198183"/>
            <a:ext cx="695030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añada </a:t>
            </a:r>
            <a:r>
              <a:rPr kumimoji="0" lang="en-US" sz="1800" b="0" i="0" u="none" strike="noStrike" kern="1200" cap="none" spc="0" normalizeH="0" baseline="0" noProof="0" dirty="0" smtClean="0">
                <a:ln>
                  <a:noFill/>
                </a:ln>
                <a:solidFill>
                  <a:prstClr val="white"/>
                </a:solidFill>
                <a:effectLst/>
                <a:uLnTx/>
                <a:uFillTx/>
                <a:latin typeface="Calibri" panose="020F0502020204030204"/>
                <a:ea typeface="+mn-ea"/>
                <a:cs typeface="+mn-cs"/>
              </a:rPr>
              <a:t>Antiracism Task Force Recommended Actions (approved by PBC)</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67077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trict Antiracism Council</a:t>
            </a:r>
            <a:endParaRPr lang="en-US" dirty="0"/>
          </a:p>
        </p:txBody>
      </p:sp>
      <p:sp>
        <p:nvSpPr>
          <p:cNvPr id="3" name="Content Placeholder 2"/>
          <p:cNvSpPr>
            <a:spLocks noGrp="1"/>
          </p:cNvSpPr>
          <p:nvPr>
            <p:ph idx="1"/>
          </p:nvPr>
        </p:nvSpPr>
        <p:spPr/>
        <p:txBody>
          <a:bodyPr>
            <a:normAutofit/>
          </a:bodyPr>
          <a:lstStyle/>
          <a:p>
            <a:pPr marL="36900" indent="0">
              <a:buNone/>
            </a:pPr>
            <a:r>
              <a:rPr lang="en-US" b="1" dirty="0">
                <a:effectLst/>
              </a:rPr>
              <a:t>The </a:t>
            </a:r>
            <a:r>
              <a:rPr lang="en-US" b="1" dirty="0" smtClean="0">
                <a:effectLst/>
              </a:rPr>
              <a:t>SMCCCD Antiracism </a:t>
            </a:r>
            <a:r>
              <a:rPr lang="en-US" b="1" dirty="0">
                <a:effectLst/>
              </a:rPr>
              <a:t>Council is focusing on </a:t>
            </a:r>
            <a:r>
              <a:rPr lang="en-US" b="1" dirty="0" smtClean="0">
                <a:effectLst/>
              </a:rPr>
              <a:t>three areas:</a:t>
            </a:r>
            <a:endParaRPr lang="en-US" b="1" dirty="0">
              <a:effectLst/>
            </a:endParaRPr>
          </a:p>
          <a:p>
            <a:pPr marL="36900" indent="0">
              <a:buNone/>
            </a:pPr>
            <a:r>
              <a:rPr lang="en-US" dirty="0">
                <a:effectLst/>
              </a:rPr>
              <a:t> </a:t>
            </a:r>
          </a:p>
          <a:p>
            <a:pPr marL="494100" indent="-457200">
              <a:buFont typeface="+mj-lt"/>
              <a:buAutoNum type="arabicParenR"/>
            </a:pPr>
            <a:r>
              <a:rPr lang="en-US" dirty="0" smtClean="0">
                <a:effectLst/>
              </a:rPr>
              <a:t>District </a:t>
            </a:r>
            <a:r>
              <a:rPr lang="en-US" dirty="0">
                <a:effectLst/>
              </a:rPr>
              <a:t>Policies and Procedures like the District’s mission, vision statement and common antiracism glossary.</a:t>
            </a:r>
          </a:p>
          <a:p>
            <a:pPr marL="494100" indent="-457200">
              <a:buFont typeface="+mj-lt"/>
              <a:buAutoNum type="arabicParenR"/>
            </a:pPr>
            <a:r>
              <a:rPr lang="en-US" dirty="0" smtClean="0">
                <a:effectLst/>
              </a:rPr>
              <a:t>Curriculum</a:t>
            </a:r>
            <a:r>
              <a:rPr lang="en-US" dirty="0">
                <a:effectLst/>
              </a:rPr>
              <a:t>, infusing cultural relevant teaching in curriculum, audit of curriculum courses.</a:t>
            </a:r>
          </a:p>
          <a:p>
            <a:pPr marL="494100" indent="-457200">
              <a:buFont typeface="+mj-lt"/>
              <a:buAutoNum type="arabicParenR"/>
            </a:pPr>
            <a:r>
              <a:rPr lang="en-US" dirty="0" smtClean="0">
                <a:effectLst/>
              </a:rPr>
              <a:t>Equal </a:t>
            </a:r>
            <a:r>
              <a:rPr lang="en-US" dirty="0">
                <a:effectLst/>
              </a:rPr>
              <a:t>Employment Opportunity focusing on antiracism professional development courses for employees known as IDEAL – Inclusion, Diversity, Equity, Antiracism Leadership.  Employees will be able to take courses that enrich their understanding of the above areas and how to incorporate them into practice.</a:t>
            </a:r>
          </a:p>
          <a:p>
            <a:endParaRPr lang="en-US" dirty="0"/>
          </a:p>
        </p:txBody>
      </p:sp>
    </p:spTree>
    <p:extLst>
      <p:ext uri="{BB962C8B-B14F-4D97-AF65-F5344CB8AC3E}">
        <p14:creationId xmlns:p14="http://schemas.microsoft.com/office/powerpoint/2010/main" val="25434214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treat Agenda Overview</a:t>
            </a:r>
            <a:endParaRPr lang="en-US" dirty="0"/>
          </a:p>
        </p:txBody>
      </p:sp>
      <p:graphicFrame>
        <p:nvGraphicFramePr>
          <p:cNvPr id="4" name="Content Placeholder 3"/>
          <p:cNvGraphicFramePr>
            <a:graphicFrameLocks noGrp="1"/>
          </p:cNvGraphicFramePr>
          <p:nvPr>
            <p:ph idx="1"/>
            <p:extLst/>
          </p:nvPr>
        </p:nvGraphicFramePr>
        <p:xfrm>
          <a:off x="914400" y="1731963"/>
          <a:ext cx="10353675" cy="4668520"/>
        </p:xfrm>
        <a:graphic>
          <a:graphicData uri="http://schemas.openxmlformats.org/drawingml/2006/table">
            <a:tbl>
              <a:tblPr firstRow="1" bandRow="1">
                <a:tableStyleId>{0E3FDE45-AF77-4B5C-9715-49D594BDF05E}</a:tableStyleId>
              </a:tblPr>
              <a:tblGrid>
                <a:gridCol w="4392118">
                  <a:extLst>
                    <a:ext uri="{9D8B030D-6E8A-4147-A177-3AD203B41FA5}">
                      <a16:colId xmlns:a16="http://schemas.microsoft.com/office/drawing/2014/main" val="870965112"/>
                    </a:ext>
                  </a:extLst>
                </a:gridCol>
                <a:gridCol w="1611443">
                  <a:extLst>
                    <a:ext uri="{9D8B030D-6E8A-4147-A177-3AD203B41FA5}">
                      <a16:colId xmlns:a16="http://schemas.microsoft.com/office/drawing/2014/main" val="143381207"/>
                    </a:ext>
                  </a:extLst>
                </a:gridCol>
                <a:gridCol w="4350114">
                  <a:extLst>
                    <a:ext uri="{9D8B030D-6E8A-4147-A177-3AD203B41FA5}">
                      <a16:colId xmlns:a16="http://schemas.microsoft.com/office/drawing/2014/main" val="1373404067"/>
                    </a:ext>
                  </a:extLst>
                </a:gridCol>
              </a:tblGrid>
              <a:tr h="370840">
                <a:tc>
                  <a:txBody>
                    <a:bodyPr/>
                    <a:lstStyle/>
                    <a:p>
                      <a:pPr algn="ctr"/>
                      <a:r>
                        <a:rPr lang="en-US" dirty="0" smtClean="0"/>
                        <a:t>DAY 1</a:t>
                      </a:r>
                      <a:endParaRPr lang="en-US" dirty="0"/>
                    </a:p>
                  </a:txBody>
                  <a:tcPr>
                    <a:lnR>
                      <a:noFill/>
                    </a:lnR>
                  </a:tcPr>
                </a:tc>
                <a:tc>
                  <a:txBody>
                    <a:bodyPr/>
                    <a:lstStyle/>
                    <a:p>
                      <a:endParaRPr lang="en-US" dirty="0"/>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a:r>
                        <a:rPr lang="en-US" dirty="0" smtClean="0"/>
                        <a:t>DAY 2</a:t>
                      </a:r>
                      <a:endParaRPr lang="en-US" dirty="0"/>
                    </a:p>
                  </a:txBody>
                  <a:tcPr>
                    <a:lnL>
                      <a:noFill/>
                    </a:lnL>
                  </a:tcPr>
                </a:tc>
                <a:extLst>
                  <a:ext uri="{0D108BD9-81ED-4DB2-BD59-A6C34878D82A}">
                    <a16:rowId xmlns:a16="http://schemas.microsoft.com/office/drawing/2014/main" val="3346028086"/>
                  </a:ext>
                </a:extLst>
              </a:tr>
              <a:tr h="370840">
                <a:tc>
                  <a:txBody>
                    <a:bodyPr/>
                    <a:lstStyle/>
                    <a:p>
                      <a:r>
                        <a:rPr lang="en-US" dirty="0" smtClean="0"/>
                        <a:t>Hear from our student</a:t>
                      </a:r>
                      <a:r>
                        <a:rPr lang="en-US" baseline="0" dirty="0" smtClean="0"/>
                        <a:t> leaders</a:t>
                      </a:r>
                      <a:endParaRPr lang="en-US" dirty="0"/>
                    </a:p>
                  </a:txBody>
                  <a:tcPr>
                    <a:lnR>
                      <a:noFill/>
                    </a:lnR>
                  </a:tcPr>
                </a:tc>
                <a:tc>
                  <a:txBody>
                    <a:bodyPr/>
                    <a:lstStyle/>
                    <a:p>
                      <a:endParaRPr lang="en-US" dirty="0"/>
                    </a:p>
                  </a:txBody>
                  <a:tcPr>
                    <a:lnL>
                      <a:noFill/>
                    </a:lnL>
                    <a:lnR>
                      <a:noFill/>
                    </a:lnR>
                    <a:lnT w="12700" cmpd="sng">
                      <a:noFill/>
                    </a:lnT>
                    <a:lnB>
                      <a:noFill/>
                    </a:lnB>
                    <a:lnTlToBr w="12700" cmpd="sng">
                      <a:noFill/>
                      <a:prstDash val="solid"/>
                    </a:lnTlToBr>
                    <a:lnBlToTr w="12700" cmpd="sng">
                      <a:noFill/>
                      <a:prstDash val="solid"/>
                    </a:lnBlToTr>
                    <a:noFill/>
                  </a:tcPr>
                </a:tc>
                <a:tc>
                  <a:txBody>
                    <a:bodyPr/>
                    <a:lstStyle/>
                    <a:p>
                      <a:r>
                        <a:rPr lang="en-US" dirty="0" smtClean="0"/>
                        <a:t>Preparing for a</a:t>
                      </a:r>
                      <a:r>
                        <a:rPr lang="en-US" baseline="0" dirty="0" smtClean="0"/>
                        <a:t> new 5-year Educational Master Plan</a:t>
                      </a:r>
                      <a:endParaRPr lang="en-US" dirty="0"/>
                    </a:p>
                  </a:txBody>
                  <a:tcPr>
                    <a:lnL>
                      <a:noFill/>
                    </a:lnL>
                  </a:tcPr>
                </a:tc>
                <a:extLst>
                  <a:ext uri="{0D108BD9-81ED-4DB2-BD59-A6C34878D82A}">
                    <a16:rowId xmlns:a16="http://schemas.microsoft.com/office/drawing/2014/main" val="394338758"/>
                  </a:ext>
                </a:extLst>
              </a:tr>
              <a:tr h="370840">
                <a:tc>
                  <a:txBody>
                    <a:bodyPr/>
                    <a:lstStyle/>
                    <a:p>
                      <a:r>
                        <a:rPr lang="en-US" dirty="0" smtClean="0"/>
                        <a:t>Review</a:t>
                      </a:r>
                      <a:r>
                        <a:rPr lang="en-US" baseline="0" dirty="0" smtClean="0"/>
                        <a:t> progress we made last year</a:t>
                      </a:r>
                      <a:endParaRPr lang="en-US" dirty="0"/>
                    </a:p>
                  </a:txBody>
                  <a:tcPr>
                    <a:lnR>
                      <a:noFill/>
                    </a:lnR>
                  </a:tcPr>
                </a:tc>
                <a:tc>
                  <a:txBody>
                    <a:bodyPr/>
                    <a:lstStyle/>
                    <a:p>
                      <a:endParaRPr lang="en-US" dirty="0"/>
                    </a:p>
                  </a:txBody>
                  <a:tcPr>
                    <a:lnL>
                      <a:noFill/>
                    </a:lnL>
                    <a:lnR>
                      <a:noFill/>
                    </a:lnR>
                    <a:lnT>
                      <a:noFill/>
                    </a:lnT>
                    <a:lnB>
                      <a:noFill/>
                    </a:lnB>
                    <a:lnTlToBr w="12700" cmpd="sng">
                      <a:noFill/>
                      <a:prstDash val="solid"/>
                    </a:lnTlToBr>
                    <a:lnBlToTr w="12700" cmpd="sng">
                      <a:noFill/>
                      <a:prstDash val="solid"/>
                    </a:lnBlToTr>
                  </a:tcPr>
                </a:tc>
                <a:tc>
                  <a:txBody>
                    <a:bodyPr/>
                    <a:lstStyle/>
                    <a:p>
                      <a:r>
                        <a:rPr lang="en-US" dirty="0" smtClean="0"/>
                        <a:t>Reviewing our college goals and progress</a:t>
                      </a:r>
                      <a:r>
                        <a:rPr lang="en-US" baseline="0" dirty="0" smtClean="0"/>
                        <a:t> we have made in achieving them</a:t>
                      </a:r>
                      <a:endParaRPr lang="en-US" dirty="0"/>
                    </a:p>
                  </a:txBody>
                  <a:tcPr>
                    <a:lnL>
                      <a:noFill/>
                    </a:lnL>
                  </a:tcPr>
                </a:tc>
                <a:extLst>
                  <a:ext uri="{0D108BD9-81ED-4DB2-BD59-A6C34878D82A}">
                    <a16:rowId xmlns:a16="http://schemas.microsoft.com/office/drawing/2014/main" val="594487"/>
                  </a:ext>
                </a:extLst>
              </a:tr>
              <a:tr h="370840">
                <a:tc>
                  <a:txBody>
                    <a:bodyPr/>
                    <a:lstStyle/>
                    <a:p>
                      <a:r>
                        <a:rPr lang="en-US" dirty="0" smtClean="0"/>
                        <a:t>Prepare to return to campus</a:t>
                      </a:r>
                      <a:endParaRPr lang="en-US" dirty="0"/>
                    </a:p>
                  </a:txBody>
                  <a:tcPr>
                    <a:lnR>
                      <a:noFill/>
                    </a:lnR>
                  </a:tcPr>
                </a:tc>
                <a:tc>
                  <a:txBody>
                    <a:bodyPr/>
                    <a:lstStyle/>
                    <a:p>
                      <a:endParaRPr lang="en-US" dirty="0"/>
                    </a:p>
                  </a:txBody>
                  <a:tcPr>
                    <a:lnL>
                      <a:noFill/>
                    </a:lnL>
                    <a:lnR>
                      <a:noFill/>
                    </a:lnR>
                    <a:lnT>
                      <a:noFill/>
                    </a:lnT>
                    <a:lnB>
                      <a:noFill/>
                    </a:lnB>
                    <a:lnTlToBr w="12700" cmpd="sng">
                      <a:noFill/>
                      <a:prstDash val="solid"/>
                    </a:lnTlToBr>
                    <a:lnBlToTr w="12700" cmpd="sng">
                      <a:noFill/>
                      <a:prstDash val="solid"/>
                    </a:lnBlToTr>
                    <a:noFill/>
                  </a:tcPr>
                </a:tc>
                <a:tc>
                  <a:txBody>
                    <a:bodyPr/>
                    <a:lstStyle/>
                    <a:p>
                      <a:r>
                        <a:rPr lang="en-US" dirty="0" smtClean="0"/>
                        <a:t>Based</a:t>
                      </a:r>
                      <a:r>
                        <a:rPr lang="en-US" baseline="0" dirty="0" smtClean="0"/>
                        <a:t> on our existing goals and strategic initiatives – what should be our focus in 2021-22?</a:t>
                      </a:r>
                      <a:endParaRPr lang="en-US" dirty="0"/>
                    </a:p>
                  </a:txBody>
                  <a:tcPr>
                    <a:lnL>
                      <a:noFill/>
                    </a:lnL>
                  </a:tcPr>
                </a:tc>
                <a:extLst>
                  <a:ext uri="{0D108BD9-81ED-4DB2-BD59-A6C34878D82A}">
                    <a16:rowId xmlns:a16="http://schemas.microsoft.com/office/drawing/2014/main" val="1701852304"/>
                  </a:ext>
                </a:extLst>
              </a:tr>
              <a:tr h="370840">
                <a:tc>
                  <a:txBody>
                    <a:bodyPr/>
                    <a:lstStyle/>
                    <a:p>
                      <a:r>
                        <a:rPr lang="en-US" dirty="0" smtClean="0"/>
                        <a:t>Consider the impacts of the pandemic on our community and imagine what “Recovery</a:t>
                      </a:r>
                      <a:r>
                        <a:rPr lang="en-US" baseline="0" dirty="0" smtClean="0"/>
                        <a:t> with Equity” might look like</a:t>
                      </a:r>
                      <a:endParaRPr lang="en-US" dirty="0"/>
                    </a:p>
                  </a:txBody>
                  <a:tcPr>
                    <a:lnR>
                      <a:noFill/>
                    </a:lnR>
                  </a:tcPr>
                </a:tc>
                <a:tc>
                  <a:txBody>
                    <a:bodyPr/>
                    <a:lstStyle/>
                    <a:p>
                      <a:endParaRPr lang="en-US" dirty="0"/>
                    </a:p>
                  </a:txBody>
                  <a:tcPr>
                    <a:lnL>
                      <a:noFill/>
                    </a:lnL>
                    <a:lnR>
                      <a:noFill/>
                    </a:lnR>
                    <a:lnT>
                      <a:noFill/>
                    </a:lnT>
                    <a:lnB>
                      <a:noFill/>
                    </a:lnB>
                    <a:lnTlToBr w="12700" cmpd="sng">
                      <a:noFill/>
                      <a:prstDash val="solid"/>
                    </a:lnTlToBr>
                    <a:lnBlToTr w="12700" cmpd="sng">
                      <a:noFill/>
                      <a:prstDash val="solid"/>
                    </a:lnBlToTr>
                  </a:tcPr>
                </a:tc>
                <a:tc>
                  <a:txBody>
                    <a:bodyPr/>
                    <a:lstStyle/>
                    <a:p>
                      <a:r>
                        <a:rPr lang="en-US" dirty="0" smtClean="0"/>
                        <a:t>Breakout groups refine our strategic priorities and action items for 2021-22</a:t>
                      </a:r>
                      <a:endParaRPr lang="en-US" dirty="0"/>
                    </a:p>
                  </a:txBody>
                  <a:tcPr>
                    <a:lnL>
                      <a:noFill/>
                    </a:lnL>
                  </a:tcPr>
                </a:tc>
                <a:extLst>
                  <a:ext uri="{0D108BD9-81ED-4DB2-BD59-A6C34878D82A}">
                    <a16:rowId xmlns:a16="http://schemas.microsoft.com/office/drawing/2014/main" val="2325867637"/>
                  </a:ext>
                </a:extLst>
              </a:tr>
              <a:tr h="370840">
                <a:tc>
                  <a:txBody>
                    <a:bodyPr/>
                    <a:lstStyle/>
                    <a:p>
                      <a:r>
                        <a:rPr lang="en-US" dirty="0" smtClean="0">
                          <a:effectLst/>
                        </a:rPr>
                        <a:t>Facilitated</a:t>
                      </a:r>
                      <a:r>
                        <a:rPr lang="en-US" baseline="0" dirty="0" smtClean="0">
                          <a:effectLst/>
                        </a:rPr>
                        <a:t> Workshop:  C</a:t>
                      </a:r>
                      <a:r>
                        <a:rPr lang="en-US" dirty="0" smtClean="0">
                          <a:effectLst/>
                        </a:rPr>
                        <a:t>larify as a community what racial and cultural equity systems and barriers need to be clearly named and addressed</a:t>
                      </a:r>
                      <a:endParaRPr lang="en-US" dirty="0"/>
                    </a:p>
                  </a:txBody>
                  <a:tcPr>
                    <a:lnR>
                      <a:noFill/>
                    </a:lnR>
                  </a:tcPr>
                </a:tc>
                <a:tc>
                  <a:txBody>
                    <a:bodyPr/>
                    <a:lstStyle/>
                    <a:p>
                      <a:endParaRPr lang="en-US" dirty="0"/>
                    </a:p>
                  </a:txBody>
                  <a:tcPr>
                    <a:lnL>
                      <a:noFill/>
                    </a:lnL>
                    <a:lnR>
                      <a:noFill/>
                    </a:lnR>
                    <a:lnT>
                      <a:noFill/>
                    </a:lnT>
                    <a:lnB w="12700" cmpd="sng">
                      <a:noFill/>
                    </a:lnB>
                    <a:lnTlToBr w="12700" cmpd="sng">
                      <a:noFill/>
                      <a:prstDash val="solid"/>
                    </a:lnTlToBr>
                    <a:lnBlToTr w="12700" cmpd="sng">
                      <a:noFill/>
                      <a:prstDash val="solid"/>
                    </a:lnBlToTr>
                    <a:noFill/>
                  </a:tcPr>
                </a:tc>
                <a:tc>
                  <a:txBody>
                    <a:bodyPr/>
                    <a:lstStyle/>
                    <a:p>
                      <a:r>
                        <a:rPr lang="en-US" dirty="0" smtClean="0"/>
                        <a:t>Outcome:  a new Annual</a:t>
                      </a:r>
                      <a:r>
                        <a:rPr lang="en-US" baseline="0" dirty="0" smtClean="0"/>
                        <a:t> Plan for the coming academic year</a:t>
                      </a:r>
                      <a:endParaRPr lang="en-US" dirty="0"/>
                    </a:p>
                  </a:txBody>
                  <a:tcPr>
                    <a:lnL>
                      <a:noFill/>
                    </a:lnL>
                  </a:tcPr>
                </a:tc>
                <a:extLst>
                  <a:ext uri="{0D108BD9-81ED-4DB2-BD59-A6C34878D82A}">
                    <a16:rowId xmlns:a16="http://schemas.microsoft.com/office/drawing/2014/main" val="1969496581"/>
                  </a:ext>
                </a:extLst>
              </a:tr>
            </a:tbl>
          </a:graphicData>
        </a:graphic>
      </p:graphicFrame>
    </p:spTree>
    <p:extLst>
      <p:ext uri="{BB962C8B-B14F-4D97-AF65-F5344CB8AC3E}">
        <p14:creationId xmlns:p14="http://schemas.microsoft.com/office/powerpoint/2010/main" val="15245774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P-led focus groups held Feb-March 2021</a:t>
            </a:r>
            <a:endParaRPr lang="en-US" dirty="0"/>
          </a:p>
        </p:txBody>
      </p:sp>
      <p:sp>
        <p:nvSpPr>
          <p:cNvPr id="3" name="Content Placeholder 2"/>
          <p:cNvSpPr>
            <a:spLocks noGrp="1"/>
          </p:cNvSpPr>
          <p:nvPr>
            <p:ph idx="1"/>
          </p:nvPr>
        </p:nvSpPr>
        <p:spPr/>
        <p:txBody>
          <a:bodyPr>
            <a:normAutofit fontScale="85000" lnSpcReduction="10000"/>
          </a:bodyPr>
          <a:lstStyle/>
          <a:p>
            <a:r>
              <a:rPr lang="en-US" dirty="0" smtClean="0"/>
              <a:t>Seven focus groups with students, faculty and staff populations in groups that focused on the experiences of these sub-populations at </a:t>
            </a:r>
            <a:r>
              <a:rPr lang="en-US" dirty="0">
                <a:effectLst/>
              </a:rPr>
              <a:t>Cañada </a:t>
            </a:r>
            <a:r>
              <a:rPr lang="en-US" dirty="0" smtClean="0"/>
              <a:t>:</a:t>
            </a:r>
          </a:p>
          <a:p>
            <a:pPr lvl="1"/>
            <a:r>
              <a:rPr lang="en-US" dirty="0" smtClean="0"/>
              <a:t>Hispanic/Latinx</a:t>
            </a:r>
          </a:p>
          <a:p>
            <a:pPr lvl="1"/>
            <a:r>
              <a:rPr lang="en-US" dirty="0" smtClean="0"/>
              <a:t>Immigrant/migrant/international</a:t>
            </a:r>
          </a:p>
          <a:p>
            <a:pPr lvl="1"/>
            <a:r>
              <a:rPr lang="en-US" dirty="0" smtClean="0"/>
              <a:t>Black/African American (2)</a:t>
            </a:r>
          </a:p>
          <a:p>
            <a:pPr lvl="1"/>
            <a:r>
              <a:rPr lang="en-US" dirty="0" smtClean="0"/>
              <a:t>Native </a:t>
            </a:r>
            <a:r>
              <a:rPr lang="en-US" dirty="0"/>
              <a:t>American, Asian American, Pacific </a:t>
            </a:r>
            <a:r>
              <a:rPr lang="en-US" dirty="0" smtClean="0"/>
              <a:t>Islander (AANAPI), </a:t>
            </a:r>
            <a:r>
              <a:rPr lang="en-US" dirty="0"/>
              <a:t>and </a:t>
            </a:r>
            <a:endParaRPr lang="en-US" dirty="0" smtClean="0"/>
          </a:p>
          <a:p>
            <a:pPr lvl="1"/>
            <a:r>
              <a:rPr lang="en-US" dirty="0" smtClean="0"/>
              <a:t>LGBTQ</a:t>
            </a:r>
          </a:p>
          <a:p>
            <a:pPr lvl="1"/>
            <a:r>
              <a:rPr lang="en-US" dirty="0" smtClean="0"/>
              <a:t>A general population/non-specific focus group open to all</a:t>
            </a:r>
          </a:p>
          <a:p>
            <a:pPr marL="72900" indent="0">
              <a:buNone/>
            </a:pPr>
            <a:r>
              <a:rPr lang="en-US" dirty="0"/>
              <a:t>The primary goal of the focus groups was to gather information from the diverse community to shape the goals, activities, aesthetic, and values of the cultural center that Cañada College is developing over the next year. The questions in the focus groups sought to better understand when students felt supported, if and where they felt unsupported, and how a cultural center might help to provide intentional programs, activities, professional development, and anti-racist training to better support the diverse community at Cañada College.</a:t>
            </a:r>
            <a:endParaRPr lang="en-US" dirty="0" smtClean="0"/>
          </a:p>
          <a:p>
            <a:endParaRPr lang="en-US" dirty="0"/>
          </a:p>
        </p:txBody>
      </p:sp>
    </p:spTree>
    <p:extLst>
      <p:ext uri="{BB962C8B-B14F-4D97-AF65-F5344CB8AC3E}">
        <p14:creationId xmlns:p14="http://schemas.microsoft.com/office/powerpoint/2010/main" val="423062969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Group General Recommendations</a:t>
            </a:r>
            <a:endParaRPr lang="en-US" dirty="0"/>
          </a:p>
        </p:txBody>
      </p:sp>
      <p:sp>
        <p:nvSpPr>
          <p:cNvPr id="3" name="Content Placeholder 2"/>
          <p:cNvSpPr>
            <a:spLocks noGrp="1"/>
          </p:cNvSpPr>
          <p:nvPr>
            <p:ph idx="1"/>
          </p:nvPr>
        </p:nvSpPr>
        <p:spPr/>
        <p:txBody>
          <a:bodyPr/>
          <a:lstStyle/>
          <a:p>
            <a:endParaRPr lang="en-US" dirty="0"/>
          </a:p>
          <a:p>
            <a:r>
              <a:rPr lang="en-US" b="1" dirty="0"/>
              <a:t>Recommendation 1</a:t>
            </a:r>
            <a:r>
              <a:rPr lang="en-US" dirty="0"/>
              <a:t>: Explore ways to make the college campus more visually welcoming and inviting to the diverse community through murals and activities that represent and appreciate the cultures of the student body.</a:t>
            </a:r>
          </a:p>
          <a:p>
            <a:r>
              <a:rPr lang="en-US" b="1" dirty="0"/>
              <a:t>Recommendation 2</a:t>
            </a:r>
            <a:r>
              <a:rPr lang="en-US" dirty="0"/>
              <a:t>: Dedicate resources for faculty professional development on supporting diverse students in the classroom.</a:t>
            </a:r>
          </a:p>
          <a:p>
            <a:r>
              <a:rPr lang="en-US" b="1" dirty="0"/>
              <a:t>Recommendation 3</a:t>
            </a:r>
            <a:r>
              <a:rPr lang="en-US" dirty="0"/>
              <a:t>: Explore ways to revise faculty and staff hiring practices that recognize both </a:t>
            </a:r>
            <a:r>
              <a:rPr lang="en-US" dirty="0" smtClean="0"/>
              <a:t>traditional </a:t>
            </a:r>
            <a:r>
              <a:rPr lang="en-US" dirty="0"/>
              <a:t>and nontraditional experiences and qualifications to ensure a diverse pool of faculty and staff applicants.</a:t>
            </a:r>
          </a:p>
        </p:txBody>
      </p:sp>
    </p:spTree>
    <p:extLst>
      <p:ext uri="{BB962C8B-B14F-4D97-AF65-F5344CB8AC3E}">
        <p14:creationId xmlns:p14="http://schemas.microsoft.com/office/powerpoint/2010/main" val="20746569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campus efforts</a:t>
            </a:r>
            <a:endParaRPr lang="en-US" dirty="0"/>
          </a:p>
        </p:txBody>
      </p:sp>
      <p:sp>
        <p:nvSpPr>
          <p:cNvPr id="3" name="Content Placeholder 2"/>
          <p:cNvSpPr>
            <a:spLocks noGrp="1"/>
          </p:cNvSpPr>
          <p:nvPr>
            <p:ph idx="1"/>
          </p:nvPr>
        </p:nvSpPr>
        <p:spPr>
          <a:xfrm>
            <a:off x="913795" y="1732449"/>
            <a:ext cx="10353762" cy="5125551"/>
          </a:xfrm>
        </p:spPr>
        <p:txBody>
          <a:bodyPr>
            <a:normAutofit fontScale="92500" lnSpcReduction="20000"/>
          </a:bodyPr>
          <a:lstStyle/>
          <a:p>
            <a:pPr lvl="0"/>
            <a:r>
              <a:rPr lang="en-US" dirty="0">
                <a:effectLst/>
              </a:rPr>
              <a:t>Antiracism Foundational Workshop for Students (Colts Con 2021)</a:t>
            </a:r>
          </a:p>
          <a:p>
            <a:pPr lvl="0"/>
            <a:r>
              <a:rPr lang="en-US" dirty="0">
                <a:effectLst/>
              </a:rPr>
              <a:t>ACES Professional Development Cohort about “Course Design on Racial Equity” by Center for Organizational Responsibility and Advancement (CORA)</a:t>
            </a:r>
          </a:p>
          <a:p>
            <a:pPr lvl="0"/>
            <a:r>
              <a:rPr lang="en-US" dirty="0" smtClean="0">
                <a:effectLst/>
              </a:rPr>
              <a:t>To build a culture </a:t>
            </a:r>
            <a:r>
              <a:rPr lang="en-US" dirty="0">
                <a:effectLst/>
              </a:rPr>
              <a:t>of inclusion: </a:t>
            </a:r>
          </a:p>
          <a:p>
            <a:pPr lvl="1"/>
            <a:r>
              <a:rPr lang="en-US" dirty="0">
                <a:effectLst/>
              </a:rPr>
              <a:t>Latinx Heritage Month month-long programming (2020 and 2021) </a:t>
            </a:r>
          </a:p>
          <a:p>
            <a:pPr lvl="1"/>
            <a:r>
              <a:rPr lang="en-US" dirty="0">
                <a:effectLst/>
              </a:rPr>
              <a:t>Black Heritage Month programming (Dr. Cornel West)</a:t>
            </a:r>
          </a:p>
          <a:p>
            <a:pPr lvl="1"/>
            <a:r>
              <a:rPr lang="en-US" dirty="0">
                <a:effectLst/>
              </a:rPr>
              <a:t>Personal pronouns updates for rosters and Banner platforms</a:t>
            </a:r>
          </a:p>
          <a:p>
            <a:pPr lvl="1"/>
            <a:r>
              <a:rPr lang="en-US" dirty="0">
                <a:effectLst/>
              </a:rPr>
              <a:t>Antiracism Community Read</a:t>
            </a:r>
          </a:p>
          <a:p>
            <a:pPr lvl="1"/>
            <a:r>
              <a:rPr lang="en-US" dirty="0">
                <a:effectLst/>
              </a:rPr>
              <a:t>Expanded Safe Zone to include student sessions in addition to faculty/staff/managers, and intentional focus on antiracism</a:t>
            </a:r>
          </a:p>
          <a:p>
            <a:pPr lvl="0"/>
            <a:r>
              <a:rPr lang="en-US" dirty="0" smtClean="0">
                <a:effectLst/>
              </a:rPr>
              <a:t>New Ethnic </a:t>
            </a:r>
            <a:r>
              <a:rPr lang="en-US" dirty="0">
                <a:effectLst/>
              </a:rPr>
              <a:t>Studies program and faculty </a:t>
            </a:r>
            <a:r>
              <a:rPr lang="en-US" dirty="0" smtClean="0">
                <a:effectLst/>
              </a:rPr>
              <a:t>hire</a:t>
            </a:r>
          </a:p>
          <a:p>
            <a:pPr lvl="0"/>
            <a:r>
              <a:rPr lang="en-US" dirty="0" smtClean="0">
                <a:effectLst/>
              </a:rPr>
              <a:t>New </a:t>
            </a:r>
            <a:r>
              <a:rPr lang="en-US" dirty="0" err="1" smtClean="0">
                <a:effectLst/>
              </a:rPr>
              <a:t>Umoja</a:t>
            </a:r>
            <a:r>
              <a:rPr lang="en-US" dirty="0" smtClean="0">
                <a:effectLst/>
              </a:rPr>
              <a:t> program</a:t>
            </a:r>
            <a:endParaRPr lang="en-US" dirty="0">
              <a:effectLst/>
            </a:endParaRPr>
          </a:p>
          <a:p>
            <a:pPr lvl="0"/>
            <a:r>
              <a:rPr lang="en-US" dirty="0" smtClean="0">
                <a:effectLst/>
              </a:rPr>
              <a:t>Antiracism Task Force at College; Connection to District Antiracism Council</a:t>
            </a:r>
          </a:p>
          <a:p>
            <a:r>
              <a:rPr lang="en-US" dirty="0" smtClean="0">
                <a:effectLst/>
              </a:rPr>
              <a:t>Year-long participation (2020-21) in </a:t>
            </a:r>
            <a:r>
              <a:rPr lang="en-US" dirty="0">
                <a:effectLst/>
              </a:rPr>
              <a:t>the California Community College Race and Equity Alliance organized by USC Race and Equity </a:t>
            </a:r>
            <a:r>
              <a:rPr lang="en-US" dirty="0" smtClean="0">
                <a:effectLst/>
              </a:rPr>
              <a:t>Center:  </a:t>
            </a:r>
            <a:r>
              <a:rPr lang="en-US" dirty="0" smtClean="0"/>
              <a:t>e-</a:t>
            </a:r>
            <a:r>
              <a:rPr lang="en-US" dirty="0" err="1" smtClean="0"/>
              <a:t>convenings</a:t>
            </a:r>
            <a:r>
              <a:rPr lang="en-US" dirty="0" smtClean="0"/>
              <a:t> in which 35 faculty and staff participated</a:t>
            </a:r>
          </a:p>
          <a:p>
            <a:pPr marL="36900" indent="0">
              <a:buNone/>
            </a:pPr>
            <a:endParaRPr lang="en-US" dirty="0"/>
          </a:p>
        </p:txBody>
      </p:sp>
    </p:spTree>
    <p:extLst>
      <p:ext uri="{BB962C8B-B14F-4D97-AF65-F5344CB8AC3E}">
        <p14:creationId xmlns:p14="http://schemas.microsoft.com/office/powerpoint/2010/main" val="37843191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iscussion</a:t>
            </a:r>
            <a:endParaRPr lang="en-US" dirty="0"/>
          </a:p>
        </p:txBody>
      </p:sp>
    </p:spTree>
    <p:extLst>
      <p:ext uri="{BB962C8B-B14F-4D97-AF65-F5344CB8AC3E}">
        <p14:creationId xmlns:p14="http://schemas.microsoft.com/office/powerpoint/2010/main" val="18847074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UNCH</a:t>
            </a:r>
          </a:p>
        </p:txBody>
      </p:sp>
      <p:sp>
        <p:nvSpPr>
          <p:cNvPr id="5" name="Text Placeholder 4"/>
          <p:cNvSpPr>
            <a:spLocks noGrp="1"/>
          </p:cNvSpPr>
          <p:nvPr>
            <p:ph type="body" idx="1"/>
          </p:nvPr>
        </p:nvSpPr>
        <p:spPr/>
        <p:txBody>
          <a:bodyPr/>
          <a:lstStyle/>
          <a:p>
            <a:r>
              <a:rPr lang="en-US" dirty="0"/>
              <a:t>12:00 – 1:00 pm</a:t>
            </a:r>
          </a:p>
        </p:txBody>
      </p:sp>
    </p:spTree>
    <p:extLst>
      <p:ext uri="{BB962C8B-B14F-4D97-AF65-F5344CB8AC3E}">
        <p14:creationId xmlns:p14="http://schemas.microsoft.com/office/powerpoint/2010/main" val="73750521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What are we trying to solve?</a:t>
            </a:r>
          </a:p>
        </p:txBody>
      </p:sp>
      <p:graphicFrame>
        <p:nvGraphicFramePr>
          <p:cNvPr id="4" name="Table 3"/>
          <p:cNvGraphicFramePr>
            <a:graphicFrameLocks noGrp="1"/>
          </p:cNvGraphicFramePr>
          <p:nvPr>
            <p:extLst/>
          </p:nvPr>
        </p:nvGraphicFramePr>
        <p:xfrm>
          <a:off x="2071213" y="4931217"/>
          <a:ext cx="9214946" cy="1645920"/>
        </p:xfrm>
        <a:graphic>
          <a:graphicData uri="http://schemas.openxmlformats.org/drawingml/2006/table">
            <a:tbl>
              <a:tblPr>
                <a:tableStyleId>{5C22544A-7EE6-4342-B048-85BDC9FD1C3A}</a:tableStyleId>
              </a:tblPr>
              <a:tblGrid>
                <a:gridCol w="4607473">
                  <a:extLst>
                    <a:ext uri="{9D8B030D-6E8A-4147-A177-3AD203B41FA5}">
                      <a16:colId xmlns:a16="http://schemas.microsoft.com/office/drawing/2014/main" val="2445603517"/>
                    </a:ext>
                  </a:extLst>
                </a:gridCol>
                <a:gridCol w="4607473">
                  <a:extLst>
                    <a:ext uri="{9D8B030D-6E8A-4147-A177-3AD203B41FA5}">
                      <a16:colId xmlns:a16="http://schemas.microsoft.com/office/drawing/2014/main" val="2188556946"/>
                    </a:ext>
                  </a:extLst>
                </a:gridCol>
              </a:tblGrid>
              <a:tr h="370840">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Nancy </a:t>
                      </a:r>
                      <a:r>
                        <a:rPr lang="en-US" sz="2400" b="1" kern="1200" dirty="0" smtClean="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Moricette (she/her)</a:t>
                      </a:r>
                      <a:endParaRPr lang="en-US" sz="2400" b="1"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endParaRP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Equity, Diversity and Inclusion Facilitator and Strategist</a:t>
                      </a:r>
                    </a:p>
                    <a:p>
                      <a:pPr marL="36900" indent="0" algn="l" defTabSz="457200" rtl="0" eaLnBrk="1" latinLnBrk="0" hangingPunct="1">
                        <a:spcBef>
                          <a:spcPts val="0"/>
                        </a:spcBef>
                        <a:spcAft>
                          <a:spcPts val="0"/>
                        </a:spcAft>
                        <a:buClr>
                          <a:schemeClr val="tx2"/>
                        </a:buClr>
                        <a:buSzPct val="70000"/>
                        <a:buFont typeface="Wingdings 2" charset="2"/>
                        <a:buNone/>
                      </a:pPr>
                      <a:r>
                        <a:rPr lang="en-US" sz="2000" b="0" kern="1200" dirty="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Founder, Áse Power Consult</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6900" indent="0" algn="l" defTabSz="457200" rtl="0" eaLnBrk="1" latinLnBrk="0" hangingPunct="1">
                        <a:spcBef>
                          <a:spcPts val="0"/>
                        </a:spcBef>
                        <a:spcAft>
                          <a:spcPts val="0"/>
                        </a:spcAft>
                        <a:buClr>
                          <a:schemeClr val="tx2"/>
                        </a:buClr>
                        <a:buSzPct val="70000"/>
                        <a:buFont typeface="Wingdings 2" charset="2"/>
                        <a:buNone/>
                      </a:pPr>
                      <a:r>
                        <a:rPr lang="en-US" sz="2400" b="1" kern="1200" dirty="0" smtClean="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Kendra Carpenter (she/they)</a:t>
                      </a:r>
                    </a:p>
                    <a:p>
                      <a:r>
                        <a:rPr lang="en-US" sz="2000" b="0" kern="1200" dirty="0" smtClean="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Co-founder &amp; Lead Facilitator</a:t>
                      </a:r>
                    </a:p>
                    <a:p>
                      <a:r>
                        <a:rPr lang="en-US" sz="2000" b="0" kern="1200" dirty="0" smtClean="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rPr>
                        <a:t>Beyond Binary Consulting LLC </a:t>
                      </a:r>
                    </a:p>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37806313"/>
                  </a:ext>
                </a:extLst>
              </a:tr>
            </a:tbl>
          </a:graphicData>
        </a:graphic>
      </p:graphicFrame>
      <p:pic>
        <p:nvPicPr>
          <p:cNvPr id="3" name="Picture 2"/>
          <p:cNvPicPr>
            <a:picLocks noChangeAspect="1"/>
          </p:cNvPicPr>
          <p:nvPr/>
        </p:nvPicPr>
        <p:blipFill rotWithShape="1">
          <a:blip r:embed="rId2"/>
          <a:srcRect l="5653" r="5434"/>
          <a:stretch/>
        </p:blipFill>
        <p:spPr>
          <a:xfrm>
            <a:off x="2193399" y="1817899"/>
            <a:ext cx="3009020" cy="2730452"/>
          </a:xfrm>
          <a:prstGeom prst="rect">
            <a:avLst/>
          </a:prstGeom>
        </p:spPr>
      </p:pic>
      <p:pic>
        <p:nvPicPr>
          <p:cNvPr id="1026" name="Picture 2" descr="Kendra Carpenter"/>
          <p:cNvPicPr>
            <a:picLocks noChangeAspect="1" noChangeArrowheads="1"/>
          </p:cNvPicPr>
          <p:nvPr/>
        </p:nvPicPr>
        <p:blipFill rotWithShape="1">
          <a:blip r:embed="rId3">
            <a:extLst>
              <a:ext uri="{28A0092B-C50C-407E-A947-70E740481C1C}">
                <a14:useLocalDpi xmlns:a14="http://schemas.microsoft.com/office/drawing/2010/main" val="0"/>
              </a:ext>
            </a:extLst>
          </a:blip>
          <a:srcRect l="14087" t="14558" r="15307" b="21803"/>
          <a:stretch/>
        </p:blipFill>
        <p:spPr bwMode="auto">
          <a:xfrm>
            <a:off x="6765396" y="1858876"/>
            <a:ext cx="3099335" cy="2793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43957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What are we trying to solve?</a:t>
            </a:r>
          </a:p>
        </p:txBody>
      </p:sp>
      <p:sp>
        <p:nvSpPr>
          <p:cNvPr id="3" name="Content Placeholder 2"/>
          <p:cNvSpPr>
            <a:spLocks noGrp="1"/>
          </p:cNvSpPr>
          <p:nvPr>
            <p:ph idx="1"/>
          </p:nvPr>
        </p:nvSpPr>
        <p:spPr/>
        <p:txBody>
          <a:bodyPr/>
          <a:lstStyle/>
          <a:p>
            <a:pPr marL="36900" indent="0">
              <a:buNone/>
            </a:pPr>
            <a:r>
              <a:rPr lang="en-US" b="1" dirty="0">
                <a:effectLst/>
              </a:rPr>
              <a:t>FACILITATION INTENTION/ PURPOSE: </a:t>
            </a:r>
            <a:r>
              <a:rPr lang="en-US" dirty="0">
                <a:effectLst/>
              </a:rPr>
              <a:t>Facilitators will provide Cañada College leaders with an introduction to cultural competency. Leaders will explore how an awareness of dominant and non-dominant </a:t>
            </a:r>
            <a:r>
              <a:rPr lang="en-US" dirty="0" smtClean="0">
                <a:effectLst/>
              </a:rPr>
              <a:t>groups can </a:t>
            </a:r>
            <a:r>
              <a:rPr lang="en-US" dirty="0">
                <a:effectLst/>
              </a:rPr>
              <a:t>impact internal systems. </a:t>
            </a:r>
            <a:endParaRPr lang="en-US" dirty="0" smtClean="0">
              <a:effectLst/>
            </a:endParaRPr>
          </a:p>
          <a:p>
            <a:pPr marL="36900" indent="0">
              <a:buNone/>
            </a:pPr>
            <a:endParaRPr lang="en-US" dirty="0">
              <a:effectLst/>
            </a:endParaRPr>
          </a:p>
          <a:p>
            <a:r>
              <a:rPr lang="en-US" sz="2400" b="1" i="1" dirty="0">
                <a:effectLst/>
              </a:rPr>
              <a:t>What are we trying to solve? </a:t>
            </a:r>
            <a:r>
              <a:rPr lang="en-US" sz="2400" dirty="0">
                <a:effectLst/>
              </a:rPr>
              <a:t>Cañada College stakeholders further clarify as a community what racial and cultural equity systems and barriers need to be clearly named and addressed</a:t>
            </a:r>
          </a:p>
          <a:p>
            <a:pPr marL="36900" indent="0">
              <a:buNone/>
            </a:pPr>
            <a:endParaRPr lang="en-US" dirty="0"/>
          </a:p>
        </p:txBody>
      </p:sp>
    </p:spTree>
    <p:extLst>
      <p:ext uri="{BB962C8B-B14F-4D97-AF65-F5344CB8AC3E}">
        <p14:creationId xmlns:p14="http://schemas.microsoft.com/office/powerpoint/2010/main" val="174882709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paring for Day 2</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31169452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with </a:t>
            </a:r>
            <a:r>
              <a:rPr lang="en-US" dirty="0" smtClean="0"/>
              <a:t>Equity:  Guidance</a:t>
            </a:r>
            <a:endParaRPr lang="en-US" dirty="0"/>
          </a:p>
        </p:txBody>
      </p:sp>
      <p:sp>
        <p:nvSpPr>
          <p:cNvPr id="3" name="Text Placeholder 2"/>
          <p:cNvSpPr>
            <a:spLocks noGrp="1"/>
          </p:cNvSpPr>
          <p:nvPr>
            <p:ph type="body" idx="1"/>
          </p:nvPr>
        </p:nvSpPr>
        <p:spPr/>
        <p:txBody>
          <a:bodyPr/>
          <a:lstStyle/>
          <a:p>
            <a:r>
              <a:rPr lang="en-US" dirty="0"/>
              <a:t>State &amp; System Guidance</a:t>
            </a:r>
          </a:p>
        </p:txBody>
      </p:sp>
      <p:sp>
        <p:nvSpPr>
          <p:cNvPr id="4" name="Content Placeholder 3"/>
          <p:cNvSpPr>
            <a:spLocks noGrp="1"/>
          </p:cNvSpPr>
          <p:nvPr>
            <p:ph sz="half" idx="2"/>
          </p:nvPr>
        </p:nvSpPr>
        <p:spPr>
          <a:ln>
            <a:noFill/>
          </a:ln>
        </p:spPr>
        <p:txBody>
          <a:bodyPr/>
          <a:lstStyle/>
          <a:p>
            <a:r>
              <a:rPr lang="en-US" sz="1600" dirty="0">
                <a:solidFill>
                  <a:schemeClr val="accent3">
                    <a:lumMod val="20000"/>
                    <a:lumOff val="80000"/>
                  </a:schemeClr>
                </a:solidFill>
                <a:effectLst/>
                <a:hlinkClick r:id="rId2"/>
              </a:rPr>
              <a:t>Recovery with Equity</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effectLst/>
                <a:hlinkClick r:id="rId3"/>
              </a:rPr>
              <a:t>Vision for Success:  Call to Action</a:t>
            </a:r>
            <a:endParaRPr lang="en-US" sz="1600" dirty="0">
              <a:solidFill>
                <a:schemeClr val="accent3">
                  <a:lumMod val="20000"/>
                  <a:lumOff val="80000"/>
                </a:schemeClr>
              </a:solidFill>
              <a:effectLst/>
            </a:endParaRPr>
          </a:p>
          <a:p>
            <a:r>
              <a:rPr lang="en-US" sz="1600" dirty="0">
                <a:solidFill>
                  <a:schemeClr val="accent3">
                    <a:lumMod val="20000"/>
                    <a:lumOff val="80000"/>
                  </a:schemeClr>
                </a:solidFill>
                <a:hlinkClick r:id="rId4"/>
              </a:rPr>
              <a:t>Diversity, Equity &amp; Inclusion Integration Plan</a:t>
            </a:r>
            <a:endParaRPr lang="en-US" sz="1600" dirty="0">
              <a:solidFill>
                <a:schemeClr val="accent3">
                  <a:lumMod val="20000"/>
                  <a:lumOff val="80000"/>
                </a:schemeClr>
              </a:solidFill>
            </a:endParaRPr>
          </a:p>
          <a:p>
            <a:r>
              <a:rPr lang="en-US" sz="1600" dirty="0">
                <a:solidFill>
                  <a:schemeClr val="accent3">
                    <a:lumMod val="20000"/>
                    <a:lumOff val="80000"/>
                  </a:schemeClr>
                </a:solidFill>
                <a:hlinkClick r:id="rId5"/>
              </a:rPr>
              <a:t>Guided Pathways:</a:t>
            </a:r>
            <a:r>
              <a:rPr lang="en-US" sz="1600" dirty="0">
                <a:solidFill>
                  <a:schemeClr val="accent3">
                    <a:lumMod val="20000"/>
                    <a:lumOff val="80000"/>
                  </a:schemeClr>
                </a:solidFill>
              </a:rPr>
              <a:t>  </a:t>
            </a:r>
            <a:r>
              <a:rPr lang="en-US" sz="1400" dirty="0">
                <a:solidFill>
                  <a:schemeClr val="accent3">
                    <a:lumMod val="20000"/>
                    <a:lumOff val="80000"/>
                  </a:schemeClr>
                </a:solidFill>
              </a:rPr>
              <a:t>more $$ and time</a:t>
            </a:r>
          </a:p>
          <a:p>
            <a:r>
              <a:rPr lang="en-US" sz="1600" dirty="0">
                <a:solidFill>
                  <a:schemeClr val="accent3">
                    <a:lumMod val="20000"/>
                    <a:lumOff val="80000"/>
                  </a:schemeClr>
                </a:solidFill>
                <a:hlinkClick r:id="rId6"/>
              </a:rPr>
              <a:t>Student Equity &amp; Achievement Program</a:t>
            </a:r>
            <a:r>
              <a:rPr lang="en-US" sz="1600" dirty="0"/>
              <a:t>:  </a:t>
            </a:r>
          </a:p>
          <a:p>
            <a:pPr lvl="1"/>
            <a:r>
              <a:rPr lang="en-US" sz="1400" dirty="0"/>
              <a:t>more $$ </a:t>
            </a:r>
          </a:p>
          <a:p>
            <a:pPr lvl="1"/>
            <a:r>
              <a:rPr lang="en-US" sz="1400" dirty="0">
                <a:hlinkClick r:id="rId7"/>
              </a:rPr>
              <a:t>Center for Urban Education</a:t>
            </a:r>
            <a:r>
              <a:rPr lang="en-US" sz="1400" dirty="0"/>
              <a:t> (CUE) feedback for our 2022-25 SEAP</a:t>
            </a:r>
          </a:p>
          <a:p>
            <a:endParaRPr lang="en-US" dirty="0"/>
          </a:p>
        </p:txBody>
      </p:sp>
      <p:sp>
        <p:nvSpPr>
          <p:cNvPr id="5" name="Text Placeholder 4"/>
          <p:cNvSpPr>
            <a:spLocks noGrp="1"/>
          </p:cNvSpPr>
          <p:nvPr>
            <p:ph type="body" sz="quarter" idx="3"/>
          </p:nvPr>
        </p:nvSpPr>
        <p:spPr/>
        <p:txBody>
          <a:bodyPr/>
          <a:lstStyle/>
          <a:p>
            <a:r>
              <a:rPr lang="en-US" dirty="0">
                <a:effectLst/>
              </a:rPr>
              <a:t>Cañada College</a:t>
            </a:r>
            <a:r>
              <a:rPr lang="en-US" dirty="0"/>
              <a:t> Guidance</a:t>
            </a:r>
            <a:endParaRPr lang="en-US" dirty="0">
              <a:effectLst/>
            </a:endParaRPr>
          </a:p>
        </p:txBody>
      </p:sp>
      <p:sp>
        <p:nvSpPr>
          <p:cNvPr id="6" name="Content Placeholder 5"/>
          <p:cNvSpPr>
            <a:spLocks noGrp="1"/>
          </p:cNvSpPr>
          <p:nvPr>
            <p:ph sz="quarter" idx="4"/>
          </p:nvPr>
        </p:nvSpPr>
        <p:spPr/>
        <p:txBody>
          <a:bodyPr>
            <a:normAutofit fontScale="92500"/>
          </a:bodyPr>
          <a:lstStyle/>
          <a:p>
            <a:r>
              <a:rPr lang="en-US" dirty="0">
                <a:hlinkClick r:id="rId8"/>
              </a:rPr>
              <a:t>College Mission, Vision &amp; Values</a:t>
            </a:r>
            <a:endParaRPr lang="en-US" dirty="0"/>
          </a:p>
          <a:p>
            <a:r>
              <a:rPr lang="en-US" dirty="0">
                <a:hlinkClick r:id="rId9"/>
              </a:rPr>
              <a:t>Guided Pathways implementation</a:t>
            </a:r>
            <a:endParaRPr lang="en-US" dirty="0"/>
          </a:p>
          <a:p>
            <a:r>
              <a:rPr lang="en-US" dirty="0">
                <a:hlinkClick r:id="rId10"/>
              </a:rPr>
              <a:t>Student Equity &amp; Achievement Plan </a:t>
            </a:r>
            <a:endParaRPr lang="en-US" dirty="0"/>
          </a:p>
          <a:p>
            <a:r>
              <a:rPr lang="en-US" dirty="0">
                <a:hlinkClick r:id="rId11"/>
              </a:rPr>
              <a:t>College Antiracism Task Force Recommendations</a:t>
            </a:r>
            <a:endParaRPr lang="en-US" dirty="0"/>
          </a:p>
          <a:p>
            <a:r>
              <a:rPr lang="en-US" dirty="0">
                <a:hlinkClick r:id="rId12"/>
              </a:rPr>
              <a:t>Cultural Center Focus Group Recommendations</a:t>
            </a:r>
            <a:endParaRPr lang="en-US" dirty="0"/>
          </a:p>
          <a:p>
            <a:r>
              <a:rPr lang="en-US" dirty="0">
                <a:hlinkClick r:id="rId13"/>
              </a:rPr>
              <a:t>Faculty, Staff, Student Survey Results</a:t>
            </a:r>
            <a:endParaRPr lang="en-US" dirty="0"/>
          </a:p>
          <a:p>
            <a:r>
              <a:rPr lang="en-US" dirty="0">
                <a:hlinkClick r:id="rId14"/>
              </a:rPr>
              <a:t>National Assessment of Collegiate Campus Climates </a:t>
            </a:r>
            <a:r>
              <a:rPr lang="en-US" dirty="0"/>
              <a:t>(NACCC) student survey results (expected September)</a:t>
            </a:r>
          </a:p>
          <a:p>
            <a:endParaRPr lang="en-US" dirty="0"/>
          </a:p>
          <a:p>
            <a:endParaRPr lang="en-US" dirty="0"/>
          </a:p>
        </p:txBody>
      </p:sp>
    </p:spTree>
    <p:extLst>
      <p:ext uri="{BB962C8B-B14F-4D97-AF65-F5344CB8AC3E}">
        <p14:creationId xmlns:p14="http://schemas.microsoft.com/office/powerpoint/2010/main" val="184139814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se of Day 1</a:t>
            </a:r>
          </a:p>
        </p:txBody>
      </p:sp>
    </p:spTree>
    <p:extLst>
      <p:ext uri="{BB962C8B-B14F-4D97-AF65-F5344CB8AC3E}">
        <p14:creationId xmlns:p14="http://schemas.microsoft.com/office/powerpoint/2010/main" val="13083744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 Perspectives &amp; Priorities:  2021-22</a:t>
            </a:r>
          </a:p>
        </p:txBody>
      </p:sp>
      <p:pic>
        <p:nvPicPr>
          <p:cNvPr id="2050" name="Picture 2" descr="https://canadacollege.edu/studentlife/images/thumbnail_IMG_146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652" y="2001576"/>
            <a:ext cx="2481747" cy="330899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160159" y="4233353"/>
            <a:ext cx="2825966" cy="107721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Xitlali Curincit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Student Senate Presid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solidFill>
                    <a:prstClr val="black">
                      <a:lumMod val="75000"/>
                      <a:lumOff val="25000"/>
                      <a:alpha val="10000"/>
                    </a:prstClr>
                  </a:solidFill>
                </a:ln>
                <a:solidFill>
                  <a:srgbClr val="F2F5D7"/>
                </a:solidFill>
                <a:effectLst>
                  <a:outerShdw blurRad="9525" dist="25400" dir="14640000" algn="tl" rotWithShape="0">
                    <a:prstClr val="black">
                      <a:alpha val="30000"/>
                    </a:prstClr>
                  </a:outerShdw>
                </a:effectLst>
                <a:uLnTx/>
                <a:uFillTx/>
                <a:latin typeface="Calibri" panose="020F0502020204030204"/>
                <a:ea typeface="+mn-ea"/>
                <a:cs typeface="+mn-cs"/>
              </a:rPr>
              <a:t>Middle College Student</a:t>
            </a:r>
          </a:p>
        </p:txBody>
      </p:sp>
    </p:spTree>
    <p:extLst>
      <p:ext uri="{BB962C8B-B14F-4D97-AF65-F5344CB8AC3E}">
        <p14:creationId xmlns:p14="http://schemas.microsoft.com/office/powerpoint/2010/main" val="17519007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Google Shape;174;p24"/>
          <p:cNvSpPr txBox="1">
            <a:spLocks noGrp="1"/>
          </p:cNvSpPr>
          <p:nvPr>
            <p:ph type="ctrTitle"/>
          </p:nvPr>
        </p:nvSpPr>
        <p:spPr>
          <a:xfrm>
            <a:off x="2785433" y="716400"/>
            <a:ext cx="8307600" cy="3622800"/>
          </a:xfrm>
          <a:prstGeom prst="rect">
            <a:avLst/>
          </a:prstGeom>
        </p:spPr>
        <p:txBody>
          <a:bodyPr spcFirstLastPara="1" wrap="square" lIns="121900" tIns="121900" rIns="121900" bIns="121900" anchor="ctr" anchorCtr="0">
            <a:noAutofit/>
          </a:bodyPr>
          <a:lstStyle/>
          <a:p>
            <a:r>
              <a:rPr lang="en" sz="6667"/>
              <a:t>Associated Students of Cañada College 2021-2022</a:t>
            </a:r>
            <a:r>
              <a:rPr lang="en" sz="7200"/>
              <a:t> </a:t>
            </a:r>
            <a:endParaRPr sz="7200"/>
          </a:p>
        </p:txBody>
      </p:sp>
      <p:sp>
        <p:nvSpPr>
          <p:cNvPr id="175" name="Google Shape;175;p24"/>
          <p:cNvSpPr txBox="1">
            <a:spLocks noGrp="1"/>
          </p:cNvSpPr>
          <p:nvPr>
            <p:ph type="subTitle" idx="1"/>
          </p:nvPr>
        </p:nvSpPr>
        <p:spPr>
          <a:xfrm>
            <a:off x="5953433" y="4815067"/>
            <a:ext cx="5286400" cy="1056800"/>
          </a:xfrm>
          <a:prstGeom prst="rect">
            <a:avLst/>
          </a:prstGeom>
        </p:spPr>
        <p:txBody>
          <a:bodyPr spcFirstLastPara="1" wrap="square" lIns="121900" tIns="121900" rIns="121900" bIns="121900" anchor="t" anchorCtr="0">
            <a:noAutofit/>
          </a:bodyPr>
          <a:lstStyle/>
          <a:p>
            <a:pPr marL="0" indent="0"/>
            <a:r>
              <a:rPr lang="en" sz="3733"/>
              <a:t>Leadership Retreat</a:t>
            </a:r>
            <a:endParaRPr sz="3733"/>
          </a:p>
        </p:txBody>
      </p:sp>
      <p:grpSp>
        <p:nvGrpSpPr>
          <p:cNvPr id="176" name="Google Shape;176;p24"/>
          <p:cNvGrpSpPr/>
          <p:nvPr/>
        </p:nvGrpSpPr>
        <p:grpSpPr>
          <a:xfrm>
            <a:off x="498891" y="3699405"/>
            <a:ext cx="4986340" cy="2559967"/>
            <a:chOff x="953187" y="2352950"/>
            <a:chExt cx="4174300" cy="2424517"/>
          </a:xfrm>
        </p:grpSpPr>
        <p:sp>
          <p:nvSpPr>
            <p:cNvPr id="177" name="Google Shape;177;p24"/>
            <p:cNvSpPr/>
            <p:nvPr/>
          </p:nvSpPr>
          <p:spPr>
            <a:xfrm>
              <a:off x="953187" y="4251247"/>
              <a:ext cx="4174300" cy="526220"/>
            </a:xfrm>
            <a:custGeom>
              <a:avLst/>
              <a:gdLst/>
              <a:ahLst/>
              <a:cxnLst/>
              <a:rect l="l" t="t" r="r" b="b"/>
              <a:pathLst>
                <a:path w="166972" h="15234" extrusionOk="0">
                  <a:moveTo>
                    <a:pt x="83486" y="1"/>
                  </a:moveTo>
                  <a:cubicBezTo>
                    <a:pt x="37370" y="1"/>
                    <a:pt x="1" y="3411"/>
                    <a:pt x="1" y="7617"/>
                  </a:cubicBezTo>
                  <a:cubicBezTo>
                    <a:pt x="1" y="11823"/>
                    <a:pt x="37370" y="15233"/>
                    <a:pt x="83486" y="15233"/>
                  </a:cubicBezTo>
                  <a:cubicBezTo>
                    <a:pt x="129602" y="15233"/>
                    <a:pt x="166971" y="11823"/>
                    <a:pt x="166971" y="7617"/>
                  </a:cubicBezTo>
                  <a:cubicBezTo>
                    <a:pt x="166971" y="3411"/>
                    <a:pt x="129602" y="1"/>
                    <a:pt x="83486"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8" name="Google Shape;178;p24"/>
            <p:cNvSpPr/>
            <p:nvPr/>
          </p:nvSpPr>
          <p:spPr>
            <a:xfrm>
              <a:off x="3151725" y="3745425"/>
              <a:ext cx="1626850" cy="696250"/>
            </a:xfrm>
            <a:custGeom>
              <a:avLst/>
              <a:gdLst/>
              <a:ahLst/>
              <a:cxnLst/>
              <a:rect l="l" t="t" r="r" b="b"/>
              <a:pathLst>
                <a:path w="65074" h="27850" extrusionOk="0">
                  <a:moveTo>
                    <a:pt x="1" y="1"/>
                  </a:moveTo>
                  <a:lnTo>
                    <a:pt x="1" y="27850"/>
                  </a:lnTo>
                  <a:lnTo>
                    <a:pt x="65073" y="27850"/>
                  </a:lnTo>
                  <a:lnTo>
                    <a:pt x="65073" y="25025"/>
                  </a:lnTo>
                  <a:lnTo>
                    <a:pt x="56808" y="25025"/>
                  </a:lnTo>
                  <a:lnTo>
                    <a:pt x="56808" y="2825"/>
                  </a:lnTo>
                  <a:lnTo>
                    <a:pt x="65073" y="2825"/>
                  </a:lnTo>
                  <a:lnTo>
                    <a:pt x="65073"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9" name="Google Shape;179;p24"/>
            <p:cNvSpPr/>
            <p:nvPr/>
          </p:nvSpPr>
          <p:spPr>
            <a:xfrm>
              <a:off x="1524925" y="3745425"/>
              <a:ext cx="1626825" cy="696250"/>
            </a:xfrm>
            <a:custGeom>
              <a:avLst/>
              <a:gdLst/>
              <a:ahLst/>
              <a:cxnLst/>
              <a:rect l="l" t="t" r="r" b="b"/>
              <a:pathLst>
                <a:path w="65073" h="27850" extrusionOk="0">
                  <a:moveTo>
                    <a:pt x="0" y="1"/>
                  </a:moveTo>
                  <a:lnTo>
                    <a:pt x="0" y="27850"/>
                  </a:lnTo>
                  <a:lnTo>
                    <a:pt x="65073" y="27850"/>
                  </a:lnTo>
                  <a:lnTo>
                    <a:pt x="65073"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0" name="Google Shape;180;p24"/>
            <p:cNvSpPr/>
            <p:nvPr/>
          </p:nvSpPr>
          <p:spPr>
            <a:xfrm>
              <a:off x="1371125" y="3745425"/>
              <a:ext cx="308125" cy="696250"/>
            </a:xfrm>
            <a:custGeom>
              <a:avLst/>
              <a:gdLst/>
              <a:ahLst/>
              <a:cxnLst/>
              <a:rect l="l" t="t" r="r" b="b"/>
              <a:pathLst>
                <a:path w="12325" h="27850" extrusionOk="0">
                  <a:moveTo>
                    <a:pt x="6152" y="1"/>
                  </a:moveTo>
                  <a:cubicBezTo>
                    <a:pt x="2763" y="1"/>
                    <a:pt x="1" y="6236"/>
                    <a:pt x="1" y="13936"/>
                  </a:cubicBezTo>
                  <a:cubicBezTo>
                    <a:pt x="1" y="21615"/>
                    <a:pt x="2763" y="27850"/>
                    <a:pt x="6152" y="27850"/>
                  </a:cubicBezTo>
                  <a:cubicBezTo>
                    <a:pt x="9563" y="27850"/>
                    <a:pt x="12325" y="21615"/>
                    <a:pt x="12325" y="13936"/>
                  </a:cubicBezTo>
                  <a:cubicBezTo>
                    <a:pt x="12325" y="6236"/>
                    <a:pt x="9563" y="1"/>
                    <a:pt x="6152"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1" name="Google Shape;181;p24"/>
            <p:cNvSpPr/>
            <p:nvPr/>
          </p:nvSpPr>
          <p:spPr>
            <a:xfrm>
              <a:off x="2992725" y="3745425"/>
              <a:ext cx="307600" cy="696250"/>
            </a:xfrm>
            <a:custGeom>
              <a:avLst/>
              <a:gdLst/>
              <a:ahLst/>
              <a:cxnLst/>
              <a:rect l="l" t="t" r="r" b="b"/>
              <a:pathLst>
                <a:path w="12304" h="27850" extrusionOk="0">
                  <a:moveTo>
                    <a:pt x="6152" y="1"/>
                  </a:moveTo>
                  <a:cubicBezTo>
                    <a:pt x="2741" y="1"/>
                    <a:pt x="0" y="6236"/>
                    <a:pt x="0" y="13936"/>
                  </a:cubicBezTo>
                  <a:cubicBezTo>
                    <a:pt x="0" y="21615"/>
                    <a:pt x="2741" y="27850"/>
                    <a:pt x="6152" y="27850"/>
                  </a:cubicBezTo>
                  <a:cubicBezTo>
                    <a:pt x="9541" y="27850"/>
                    <a:pt x="12303" y="21615"/>
                    <a:pt x="12303" y="13936"/>
                  </a:cubicBezTo>
                  <a:cubicBezTo>
                    <a:pt x="12303" y="6236"/>
                    <a:pt x="9541" y="1"/>
                    <a:pt x="6152"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2" name="Google Shape;182;p24"/>
            <p:cNvSpPr/>
            <p:nvPr/>
          </p:nvSpPr>
          <p:spPr>
            <a:xfrm>
              <a:off x="3099950" y="3816050"/>
              <a:ext cx="245350" cy="555025"/>
            </a:xfrm>
            <a:custGeom>
              <a:avLst/>
              <a:gdLst/>
              <a:ahLst/>
              <a:cxnLst/>
              <a:rect l="l" t="t" r="r" b="b"/>
              <a:pathLst>
                <a:path w="9814" h="22201" extrusionOk="0">
                  <a:moveTo>
                    <a:pt x="4917" y="0"/>
                  </a:moveTo>
                  <a:cubicBezTo>
                    <a:pt x="2197" y="0"/>
                    <a:pt x="0" y="4980"/>
                    <a:pt x="0" y="11111"/>
                  </a:cubicBezTo>
                  <a:cubicBezTo>
                    <a:pt x="0" y="17241"/>
                    <a:pt x="2197" y="22200"/>
                    <a:pt x="4917" y="22200"/>
                  </a:cubicBezTo>
                  <a:cubicBezTo>
                    <a:pt x="7617" y="22200"/>
                    <a:pt x="9814" y="17241"/>
                    <a:pt x="9814" y="11111"/>
                  </a:cubicBezTo>
                  <a:cubicBezTo>
                    <a:pt x="9814" y="4980"/>
                    <a:pt x="7617" y="0"/>
                    <a:pt x="4917"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3" name="Google Shape;183;p24"/>
            <p:cNvSpPr/>
            <p:nvPr/>
          </p:nvSpPr>
          <p:spPr>
            <a:xfrm>
              <a:off x="3222875" y="3816050"/>
              <a:ext cx="1497100" cy="555025"/>
            </a:xfrm>
            <a:custGeom>
              <a:avLst/>
              <a:gdLst/>
              <a:ahLst/>
              <a:cxnLst/>
              <a:rect l="l" t="t" r="r" b="b"/>
              <a:pathLst>
                <a:path w="59884" h="22201" extrusionOk="0">
                  <a:moveTo>
                    <a:pt x="0" y="0"/>
                  </a:moveTo>
                  <a:lnTo>
                    <a:pt x="0" y="22200"/>
                  </a:lnTo>
                  <a:lnTo>
                    <a:pt x="59884" y="22200"/>
                  </a:lnTo>
                  <a:cubicBezTo>
                    <a:pt x="58587" y="22200"/>
                    <a:pt x="57519" y="17241"/>
                    <a:pt x="57519" y="11111"/>
                  </a:cubicBezTo>
                  <a:cubicBezTo>
                    <a:pt x="57519" y="4980"/>
                    <a:pt x="58587" y="0"/>
                    <a:pt x="59884"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4" name="Google Shape;184;p24"/>
            <p:cNvSpPr/>
            <p:nvPr/>
          </p:nvSpPr>
          <p:spPr>
            <a:xfrm>
              <a:off x="4753950" y="3745425"/>
              <a:ext cx="49200" cy="70650"/>
            </a:xfrm>
            <a:custGeom>
              <a:avLst/>
              <a:gdLst/>
              <a:ahLst/>
              <a:cxnLst/>
              <a:rect l="l" t="t" r="r" b="b"/>
              <a:pathLst>
                <a:path w="1968" h="2826" extrusionOk="0">
                  <a:moveTo>
                    <a:pt x="984" y="1"/>
                  </a:moveTo>
                  <a:cubicBezTo>
                    <a:pt x="440" y="1"/>
                    <a:pt x="1" y="628"/>
                    <a:pt x="1" y="1423"/>
                  </a:cubicBezTo>
                  <a:cubicBezTo>
                    <a:pt x="1" y="2198"/>
                    <a:pt x="440" y="2825"/>
                    <a:pt x="984" y="2825"/>
                  </a:cubicBezTo>
                  <a:cubicBezTo>
                    <a:pt x="1528" y="2825"/>
                    <a:pt x="1968" y="2198"/>
                    <a:pt x="1968" y="1423"/>
                  </a:cubicBezTo>
                  <a:cubicBezTo>
                    <a:pt x="1968" y="628"/>
                    <a:pt x="1528" y="1"/>
                    <a:pt x="984"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5" name="Google Shape;185;p24"/>
            <p:cNvSpPr/>
            <p:nvPr/>
          </p:nvSpPr>
          <p:spPr>
            <a:xfrm>
              <a:off x="4753950" y="4371050"/>
              <a:ext cx="49200" cy="70625"/>
            </a:xfrm>
            <a:custGeom>
              <a:avLst/>
              <a:gdLst/>
              <a:ahLst/>
              <a:cxnLst/>
              <a:rect l="l" t="t" r="r" b="b"/>
              <a:pathLst>
                <a:path w="1968" h="2825" extrusionOk="0">
                  <a:moveTo>
                    <a:pt x="984" y="0"/>
                  </a:moveTo>
                  <a:cubicBezTo>
                    <a:pt x="440" y="0"/>
                    <a:pt x="1" y="628"/>
                    <a:pt x="1" y="1423"/>
                  </a:cubicBezTo>
                  <a:cubicBezTo>
                    <a:pt x="1" y="2197"/>
                    <a:pt x="440" y="2825"/>
                    <a:pt x="984" y="2825"/>
                  </a:cubicBezTo>
                  <a:cubicBezTo>
                    <a:pt x="1528" y="2825"/>
                    <a:pt x="1968" y="2197"/>
                    <a:pt x="1968" y="1423"/>
                  </a:cubicBezTo>
                  <a:cubicBezTo>
                    <a:pt x="1968" y="628"/>
                    <a:pt x="1528" y="0"/>
                    <a:pt x="984" y="0"/>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6" name="Google Shape;186;p24"/>
            <p:cNvSpPr/>
            <p:nvPr/>
          </p:nvSpPr>
          <p:spPr>
            <a:xfrm>
              <a:off x="3345275" y="3941600"/>
              <a:ext cx="205075" cy="320675"/>
            </a:xfrm>
            <a:custGeom>
              <a:avLst/>
              <a:gdLst/>
              <a:ahLst/>
              <a:cxnLst/>
              <a:rect l="l" t="t" r="r" b="b"/>
              <a:pathLst>
                <a:path w="8203" h="12827" extrusionOk="0">
                  <a:moveTo>
                    <a:pt x="1" y="0"/>
                  </a:moveTo>
                  <a:lnTo>
                    <a:pt x="1" y="12826"/>
                  </a:lnTo>
                  <a:lnTo>
                    <a:pt x="4102" y="9123"/>
                  </a:lnTo>
                  <a:lnTo>
                    <a:pt x="8203" y="12826"/>
                  </a:lnTo>
                  <a:lnTo>
                    <a:pt x="8203" y="0"/>
                  </a:lnTo>
                  <a:close/>
                </a:path>
              </a:pathLst>
            </a:custGeom>
            <a:solidFill>
              <a:srgbClr val="EF535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7" name="Google Shape;187;p24"/>
            <p:cNvSpPr/>
            <p:nvPr/>
          </p:nvSpPr>
          <p:spPr>
            <a:xfrm>
              <a:off x="2862975" y="3049200"/>
              <a:ext cx="1626850" cy="696250"/>
            </a:xfrm>
            <a:custGeom>
              <a:avLst/>
              <a:gdLst/>
              <a:ahLst/>
              <a:cxnLst/>
              <a:rect l="l" t="t" r="r" b="b"/>
              <a:pathLst>
                <a:path w="65074" h="27850" extrusionOk="0">
                  <a:moveTo>
                    <a:pt x="1" y="0"/>
                  </a:moveTo>
                  <a:lnTo>
                    <a:pt x="1" y="27850"/>
                  </a:lnTo>
                  <a:lnTo>
                    <a:pt x="65073" y="27850"/>
                  </a:lnTo>
                  <a:lnTo>
                    <a:pt x="65073" y="25025"/>
                  </a:lnTo>
                  <a:lnTo>
                    <a:pt x="56809" y="25025"/>
                  </a:lnTo>
                  <a:lnTo>
                    <a:pt x="56809" y="2825"/>
                  </a:lnTo>
                  <a:lnTo>
                    <a:pt x="65073" y="2825"/>
                  </a:lnTo>
                  <a:lnTo>
                    <a:pt x="65073" y="0"/>
                  </a:lnTo>
                  <a:close/>
                </a:path>
              </a:pathLst>
            </a:custGeom>
            <a:solidFill>
              <a:srgbClr val="9B742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8" name="Google Shape;188;p24"/>
            <p:cNvSpPr/>
            <p:nvPr/>
          </p:nvSpPr>
          <p:spPr>
            <a:xfrm>
              <a:off x="1236175" y="3049200"/>
              <a:ext cx="1626825" cy="696250"/>
            </a:xfrm>
            <a:custGeom>
              <a:avLst/>
              <a:gdLst/>
              <a:ahLst/>
              <a:cxnLst/>
              <a:rect l="l" t="t" r="r" b="b"/>
              <a:pathLst>
                <a:path w="65073" h="27850" extrusionOk="0">
                  <a:moveTo>
                    <a:pt x="1" y="0"/>
                  </a:moveTo>
                  <a:lnTo>
                    <a:pt x="1" y="27850"/>
                  </a:lnTo>
                  <a:lnTo>
                    <a:pt x="65073" y="27850"/>
                  </a:lnTo>
                  <a:lnTo>
                    <a:pt x="65073" y="0"/>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9" name="Google Shape;189;p24"/>
            <p:cNvSpPr/>
            <p:nvPr/>
          </p:nvSpPr>
          <p:spPr>
            <a:xfrm>
              <a:off x="1082375" y="3049200"/>
              <a:ext cx="307625" cy="696250"/>
            </a:xfrm>
            <a:custGeom>
              <a:avLst/>
              <a:gdLst/>
              <a:ahLst/>
              <a:cxnLst/>
              <a:rect l="l" t="t" r="r" b="b"/>
              <a:pathLst>
                <a:path w="12305" h="27850" extrusionOk="0">
                  <a:moveTo>
                    <a:pt x="6153" y="0"/>
                  </a:moveTo>
                  <a:cubicBezTo>
                    <a:pt x="2763" y="0"/>
                    <a:pt x="1" y="6236"/>
                    <a:pt x="1" y="13915"/>
                  </a:cubicBezTo>
                  <a:cubicBezTo>
                    <a:pt x="1" y="21614"/>
                    <a:pt x="2763" y="27850"/>
                    <a:pt x="6153" y="27850"/>
                  </a:cubicBezTo>
                  <a:cubicBezTo>
                    <a:pt x="9563" y="27850"/>
                    <a:pt x="12304" y="21614"/>
                    <a:pt x="12304" y="13915"/>
                  </a:cubicBezTo>
                  <a:cubicBezTo>
                    <a:pt x="12304" y="6236"/>
                    <a:pt x="9563" y="0"/>
                    <a:pt x="6153" y="0"/>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0" name="Google Shape;190;p24"/>
            <p:cNvSpPr/>
            <p:nvPr/>
          </p:nvSpPr>
          <p:spPr>
            <a:xfrm>
              <a:off x="2703450" y="3049200"/>
              <a:ext cx="308125" cy="696250"/>
            </a:xfrm>
            <a:custGeom>
              <a:avLst/>
              <a:gdLst/>
              <a:ahLst/>
              <a:cxnLst/>
              <a:rect l="l" t="t" r="r" b="b"/>
              <a:pathLst>
                <a:path w="12325" h="27850" extrusionOk="0">
                  <a:moveTo>
                    <a:pt x="6173" y="0"/>
                  </a:moveTo>
                  <a:cubicBezTo>
                    <a:pt x="2762" y="0"/>
                    <a:pt x="0" y="6236"/>
                    <a:pt x="0" y="13915"/>
                  </a:cubicBezTo>
                  <a:cubicBezTo>
                    <a:pt x="0" y="21614"/>
                    <a:pt x="2762" y="27850"/>
                    <a:pt x="6173" y="27850"/>
                  </a:cubicBezTo>
                  <a:cubicBezTo>
                    <a:pt x="9562" y="27850"/>
                    <a:pt x="12324" y="21614"/>
                    <a:pt x="12324" y="13915"/>
                  </a:cubicBezTo>
                  <a:cubicBezTo>
                    <a:pt x="12324" y="6236"/>
                    <a:pt x="9562" y="0"/>
                    <a:pt x="6173" y="0"/>
                  </a:cubicBezTo>
                  <a:close/>
                </a:path>
              </a:pathLst>
            </a:custGeom>
            <a:solidFill>
              <a:srgbClr val="9B742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1" name="Google Shape;191;p24"/>
            <p:cNvSpPr/>
            <p:nvPr/>
          </p:nvSpPr>
          <p:spPr>
            <a:xfrm>
              <a:off x="2811200" y="3119825"/>
              <a:ext cx="245350" cy="555000"/>
            </a:xfrm>
            <a:custGeom>
              <a:avLst/>
              <a:gdLst/>
              <a:ahLst/>
              <a:cxnLst/>
              <a:rect l="l" t="t" r="r" b="b"/>
              <a:pathLst>
                <a:path w="9814" h="22200" extrusionOk="0">
                  <a:moveTo>
                    <a:pt x="4897" y="0"/>
                  </a:moveTo>
                  <a:cubicBezTo>
                    <a:pt x="2198" y="0"/>
                    <a:pt x="1" y="4959"/>
                    <a:pt x="1" y="11090"/>
                  </a:cubicBezTo>
                  <a:cubicBezTo>
                    <a:pt x="1" y="17220"/>
                    <a:pt x="2198" y="22200"/>
                    <a:pt x="4897" y="22200"/>
                  </a:cubicBezTo>
                  <a:cubicBezTo>
                    <a:pt x="7617" y="22200"/>
                    <a:pt x="9814" y="17220"/>
                    <a:pt x="9814" y="11090"/>
                  </a:cubicBezTo>
                  <a:cubicBezTo>
                    <a:pt x="9814" y="4959"/>
                    <a:pt x="7617" y="0"/>
                    <a:pt x="4897" y="0"/>
                  </a:cubicBezTo>
                  <a:close/>
                </a:path>
              </a:pathLst>
            </a:custGeom>
            <a:solidFill>
              <a:srgbClr val="FFF9E8"/>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2" name="Google Shape;192;p24"/>
            <p:cNvSpPr/>
            <p:nvPr/>
          </p:nvSpPr>
          <p:spPr>
            <a:xfrm>
              <a:off x="2933600" y="3119825"/>
              <a:ext cx="1497125" cy="555000"/>
            </a:xfrm>
            <a:custGeom>
              <a:avLst/>
              <a:gdLst/>
              <a:ahLst/>
              <a:cxnLst/>
              <a:rect l="l" t="t" r="r" b="b"/>
              <a:pathLst>
                <a:path w="59885" h="22200" extrusionOk="0">
                  <a:moveTo>
                    <a:pt x="1" y="0"/>
                  </a:moveTo>
                  <a:lnTo>
                    <a:pt x="1" y="22200"/>
                  </a:lnTo>
                  <a:lnTo>
                    <a:pt x="59884" y="22200"/>
                  </a:lnTo>
                  <a:cubicBezTo>
                    <a:pt x="58587" y="22200"/>
                    <a:pt x="57541" y="17220"/>
                    <a:pt x="57541" y="11090"/>
                  </a:cubicBezTo>
                  <a:cubicBezTo>
                    <a:pt x="57541" y="4980"/>
                    <a:pt x="58587" y="0"/>
                    <a:pt x="59884" y="0"/>
                  </a:cubicBezTo>
                  <a:close/>
                </a:path>
              </a:pathLst>
            </a:custGeom>
            <a:solidFill>
              <a:srgbClr val="FFF9E8"/>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3" name="Google Shape;193;p24"/>
            <p:cNvSpPr/>
            <p:nvPr/>
          </p:nvSpPr>
          <p:spPr>
            <a:xfrm>
              <a:off x="4465225" y="3049200"/>
              <a:ext cx="48650" cy="70625"/>
            </a:xfrm>
            <a:custGeom>
              <a:avLst/>
              <a:gdLst/>
              <a:ahLst/>
              <a:cxnLst/>
              <a:rect l="l" t="t" r="r" b="b"/>
              <a:pathLst>
                <a:path w="1946" h="2825" extrusionOk="0">
                  <a:moveTo>
                    <a:pt x="983" y="0"/>
                  </a:moveTo>
                  <a:cubicBezTo>
                    <a:pt x="439" y="0"/>
                    <a:pt x="0" y="628"/>
                    <a:pt x="0" y="1402"/>
                  </a:cubicBezTo>
                  <a:cubicBezTo>
                    <a:pt x="0" y="2197"/>
                    <a:pt x="439" y="2825"/>
                    <a:pt x="983" y="2825"/>
                  </a:cubicBezTo>
                  <a:cubicBezTo>
                    <a:pt x="1507" y="2825"/>
                    <a:pt x="1946" y="2197"/>
                    <a:pt x="1946" y="1402"/>
                  </a:cubicBezTo>
                  <a:cubicBezTo>
                    <a:pt x="1946" y="628"/>
                    <a:pt x="1507" y="0"/>
                    <a:pt x="983" y="0"/>
                  </a:cubicBezTo>
                  <a:close/>
                </a:path>
              </a:pathLst>
            </a:custGeom>
            <a:solidFill>
              <a:srgbClr val="EF535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4" name="Google Shape;194;p24"/>
            <p:cNvSpPr/>
            <p:nvPr/>
          </p:nvSpPr>
          <p:spPr>
            <a:xfrm>
              <a:off x="4465225" y="3674800"/>
              <a:ext cx="49175" cy="70650"/>
            </a:xfrm>
            <a:custGeom>
              <a:avLst/>
              <a:gdLst/>
              <a:ahLst/>
              <a:cxnLst/>
              <a:rect l="l" t="t" r="r" b="b"/>
              <a:pathLst>
                <a:path w="1967" h="2826" extrusionOk="0">
                  <a:moveTo>
                    <a:pt x="983" y="1"/>
                  </a:moveTo>
                  <a:cubicBezTo>
                    <a:pt x="439" y="1"/>
                    <a:pt x="0" y="629"/>
                    <a:pt x="0" y="1403"/>
                  </a:cubicBezTo>
                  <a:cubicBezTo>
                    <a:pt x="0" y="2198"/>
                    <a:pt x="439" y="2826"/>
                    <a:pt x="983" y="2826"/>
                  </a:cubicBezTo>
                  <a:cubicBezTo>
                    <a:pt x="1527" y="2826"/>
                    <a:pt x="1967" y="2198"/>
                    <a:pt x="1967" y="1403"/>
                  </a:cubicBezTo>
                  <a:cubicBezTo>
                    <a:pt x="1967" y="629"/>
                    <a:pt x="1527" y="1"/>
                    <a:pt x="983"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5" name="Google Shape;195;p24"/>
            <p:cNvSpPr/>
            <p:nvPr/>
          </p:nvSpPr>
          <p:spPr>
            <a:xfrm>
              <a:off x="3347375" y="2352950"/>
              <a:ext cx="1626300" cy="696275"/>
            </a:xfrm>
            <a:custGeom>
              <a:avLst/>
              <a:gdLst/>
              <a:ahLst/>
              <a:cxnLst/>
              <a:rect l="l" t="t" r="r" b="b"/>
              <a:pathLst>
                <a:path w="65052" h="27851" extrusionOk="0">
                  <a:moveTo>
                    <a:pt x="0" y="1"/>
                  </a:moveTo>
                  <a:lnTo>
                    <a:pt x="0" y="27850"/>
                  </a:lnTo>
                  <a:lnTo>
                    <a:pt x="65052" y="27850"/>
                  </a:lnTo>
                  <a:lnTo>
                    <a:pt x="65052" y="25005"/>
                  </a:lnTo>
                  <a:lnTo>
                    <a:pt x="56787" y="25005"/>
                  </a:lnTo>
                  <a:lnTo>
                    <a:pt x="56787" y="2826"/>
                  </a:lnTo>
                  <a:lnTo>
                    <a:pt x="65052" y="2826"/>
                  </a:lnTo>
                  <a:lnTo>
                    <a:pt x="65052" y="1"/>
                  </a:lnTo>
                  <a:close/>
                </a:path>
              </a:pathLst>
            </a:custGeom>
            <a:solidFill>
              <a:srgbClr val="716447"/>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6" name="Google Shape;196;p24"/>
            <p:cNvSpPr/>
            <p:nvPr/>
          </p:nvSpPr>
          <p:spPr>
            <a:xfrm>
              <a:off x="1720550" y="2352950"/>
              <a:ext cx="1626325" cy="696275"/>
            </a:xfrm>
            <a:custGeom>
              <a:avLst/>
              <a:gdLst/>
              <a:ahLst/>
              <a:cxnLst/>
              <a:rect l="l" t="t" r="r" b="b"/>
              <a:pathLst>
                <a:path w="65053" h="27851" extrusionOk="0">
                  <a:moveTo>
                    <a:pt x="1" y="1"/>
                  </a:moveTo>
                  <a:lnTo>
                    <a:pt x="1" y="27850"/>
                  </a:lnTo>
                  <a:lnTo>
                    <a:pt x="65052" y="27850"/>
                  </a:lnTo>
                  <a:lnTo>
                    <a:pt x="65052" y="1"/>
                  </a:ln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7" name="Google Shape;197;p24"/>
            <p:cNvSpPr/>
            <p:nvPr/>
          </p:nvSpPr>
          <p:spPr>
            <a:xfrm>
              <a:off x="1566250" y="2352950"/>
              <a:ext cx="308125" cy="696275"/>
            </a:xfrm>
            <a:custGeom>
              <a:avLst/>
              <a:gdLst/>
              <a:ahLst/>
              <a:cxnLst/>
              <a:rect l="l" t="t" r="r" b="b"/>
              <a:pathLst>
                <a:path w="12325" h="27851" extrusionOk="0">
                  <a:moveTo>
                    <a:pt x="6173" y="1"/>
                  </a:moveTo>
                  <a:cubicBezTo>
                    <a:pt x="2762" y="1"/>
                    <a:pt x="0" y="6236"/>
                    <a:pt x="0" y="13915"/>
                  </a:cubicBezTo>
                  <a:cubicBezTo>
                    <a:pt x="0" y="21615"/>
                    <a:pt x="2762" y="27850"/>
                    <a:pt x="6173" y="27850"/>
                  </a:cubicBezTo>
                  <a:cubicBezTo>
                    <a:pt x="9562" y="27850"/>
                    <a:pt x="12324" y="21615"/>
                    <a:pt x="12324" y="13915"/>
                  </a:cubicBezTo>
                  <a:cubicBezTo>
                    <a:pt x="12324" y="6236"/>
                    <a:pt x="9562" y="1"/>
                    <a:pt x="6173"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8" name="Google Shape;198;p24"/>
            <p:cNvSpPr/>
            <p:nvPr/>
          </p:nvSpPr>
          <p:spPr>
            <a:xfrm>
              <a:off x="3187825" y="2352950"/>
              <a:ext cx="307600" cy="696275"/>
            </a:xfrm>
            <a:custGeom>
              <a:avLst/>
              <a:gdLst/>
              <a:ahLst/>
              <a:cxnLst/>
              <a:rect l="l" t="t" r="r" b="b"/>
              <a:pathLst>
                <a:path w="12304" h="27851" extrusionOk="0">
                  <a:moveTo>
                    <a:pt x="6152" y="1"/>
                  </a:moveTo>
                  <a:cubicBezTo>
                    <a:pt x="2762" y="1"/>
                    <a:pt x="1" y="6236"/>
                    <a:pt x="1" y="13915"/>
                  </a:cubicBezTo>
                  <a:cubicBezTo>
                    <a:pt x="1" y="21615"/>
                    <a:pt x="2762" y="27850"/>
                    <a:pt x="6152" y="27850"/>
                  </a:cubicBezTo>
                  <a:cubicBezTo>
                    <a:pt x="9563" y="27850"/>
                    <a:pt x="12304" y="21615"/>
                    <a:pt x="12304" y="13915"/>
                  </a:cubicBezTo>
                  <a:cubicBezTo>
                    <a:pt x="12304" y="6236"/>
                    <a:pt x="9563" y="1"/>
                    <a:pt x="6152" y="1"/>
                  </a:cubicBezTo>
                  <a:close/>
                </a:path>
              </a:pathLst>
            </a:custGeom>
            <a:solidFill>
              <a:srgbClr val="716447"/>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9" name="Google Shape;199;p24"/>
            <p:cNvSpPr/>
            <p:nvPr/>
          </p:nvSpPr>
          <p:spPr>
            <a:xfrm>
              <a:off x="3295050" y="2423575"/>
              <a:ext cx="245375" cy="555025"/>
            </a:xfrm>
            <a:custGeom>
              <a:avLst/>
              <a:gdLst/>
              <a:ahLst/>
              <a:cxnLst/>
              <a:rect l="l" t="t" r="r" b="b"/>
              <a:pathLst>
                <a:path w="9815" h="22201" extrusionOk="0">
                  <a:moveTo>
                    <a:pt x="4918" y="1"/>
                  </a:moveTo>
                  <a:cubicBezTo>
                    <a:pt x="2198" y="1"/>
                    <a:pt x="1" y="4960"/>
                    <a:pt x="1" y="11090"/>
                  </a:cubicBezTo>
                  <a:cubicBezTo>
                    <a:pt x="1" y="17221"/>
                    <a:pt x="2198" y="22201"/>
                    <a:pt x="4918" y="22201"/>
                  </a:cubicBezTo>
                  <a:cubicBezTo>
                    <a:pt x="7617" y="22201"/>
                    <a:pt x="9814" y="17221"/>
                    <a:pt x="9814" y="11090"/>
                  </a:cubicBezTo>
                  <a:cubicBezTo>
                    <a:pt x="9814" y="4960"/>
                    <a:pt x="7617" y="1"/>
                    <a:pt x="4918"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0" name="Google Shape;200;p24"/>
            <p:cNvSpPr/>
            <p:nvPr/>
          </p:nvSpPr>
          <p:spPr>
            <a:xfrm>
              <a:off x="3417975" y="2423575"/>
              <a:ext cx="1497125" cy="554500"/>
            </a:xfrm>
            <a:custGeom>
              <a:avLst/>
              <a:gdLst/>
              <a:ahLst/>
              <a:cxnLst/>
              <a:rect l="l" t="t" r="r" b="b"/>
              <a:pathLst>
                <a:path w="59885" h="22180" extrusionOk="0">
                  <a:moveTo>
                    <a:pt x="1" y="1"/>
                  </a:moveTo>
                  <a:lnTo>
                    <a:pt x="1" y="22180"/>
                  </a:lnTo>
                  <a:lnTo>
                    <a:pt x="59884" y="22180"/>
                  </a:lnTo>
                  <a:cubicBezTo>
                    <a:pt x="58587" y="22180"/>
                    <a:pt x="57541" y="17221"/>
                    <a:pt x="57541" y="11090"/>
                  </a:cubicBezTo>
                  <a:cubicBezTo>
                    <a:pt x="57541" y="4960"/>
                    <a:pt x="58587" y="1"/>
                    <a:pt x="59884"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1" name="Google Shape;201;p24"/>
            <p:cNvSpPr/>
            <p:nvPr/>
          </p:nvSpPr>
          <p:spPr>
            <a:xfrm>
              <a:off x="4949600" y="2352950"/>
              <a:ext cx="48675" cy="70650"/>
            </a:xfrm>
            <a:custGeom>
              <a:avLst/>
              <a:gdLst/>
              <a:ahLst/>
              <a:cxnLst/>
              <a:rect l="l" t="t" r="r" b="b"/>
              <a:pathLst>
                <a:path w="1947" h="2826" extrusionOk="0">
                  <a:moveTo>
                    <a:pt x="963" y="1"/>
                  </a:moveTo>
                  <a:cubicBezTo>
                    <a:pt x="440" y="1"/>
                    <a:pt x="0" y="629"/>
                    <a:pt x="0" y="1403"/>
                  </a:cubicBezTo>
                  <a:cubicBezTo>
                    <a:pt x="0" y="2177"/>
                    <a:pt x="440" y="2826"/>
                    <a:pt x="963" y="2826"/>
                  </a:cubicBezTo>
                  <a:cubicBezTo>
                    <a:pt x="1507" y="2826"/>
                    <a:pt x="1946" y="2177"/>
                    <a:pt x="1946" y="1403"/>
                  </a:cubicBezTo>
                  <a:cubicBezTo>
                    <a:pt x="1946" y="629"/>
                    <a:pt x="1507" y="1"/>
                    <a:pt x="963"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2" name="Google Shape;202;p24"/>
            <p:cNvSpPr/>
            <p:nvPr/>
          </p:nvSpPr>
          <p:spPr>
            <a:xfrm>
              <a:off x="4949600" y="2978575"/>
              <a:ext cx="48675" cy="70650"/>
            </a:xfrm>
            <a:custGeom>
              <a:avLst/>
              <a:gdLst/>
              <a:ahLst/>
              <a:cxnLst/>
              <a:rect l="l" t="t" r="r" b="b"/>
              <a:pathLst>
                <a:path w="1947" h="2826" extrusionOk="0">
                  <a:moveTo>
                    <a:pt x="963" y="1"/>
                  </a:moveTo>
                  <a:cubicBezTo>
                    <a:pt x="440" y="1"/>
                    <a:pt x="0" y="628"/>
                    <a:pt x="0" y="1403"/>
                  </a:cubicBezTo>
                  <a:cubicBezTo>
                    <a:pt x="0" y="2177"/>
                    <a:pt x="440" y="2825"/>
                    <a:pt x="963" y="2825"/>
                  </a:cubicBezTo>
                  <a:cubicBezTo>
                    <a:pt x="1507" y="2825"/>
                    <a:pt x="1946" y="2177"/>
                    <a:pt x="1946" y="1403"/>
                  </a:cubicBezTo>
                  <a:cubicBezTo>
                    <a:pt x="1946" y="628"/>
                    <a:pt x="1507" y="1"/>
                    <a:pt x="963" y="1"/>
                  </a:cubicBezTo>
                  <a:close/>
                </a:path>
              </a:pathLst>
            </a:custGeom>
            <a:solidFill>
              <a:schemeClr val="accent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3" name="Google Shape;203;p24"/>
            <p:cNvSpPr/>
            <p:nvPr/>
          </p:nvSpPr>
          <p:spPr>
            <a:xfrm>
              <a:off x="1720550" y="2352950"/>
              <a:ext cx="230725" cy="696275"/>
            </a:xfrm>
            <a:custGeom>
              <a:avLst/>
              <a:gdLst/>
              <a:ahLst/>
              <a:cxnLst/>
              <a:rect l="l" t="t" r="r" b="b"/>
              <a:pathLst>
                <a:path w="9229" h="27851" extrusionOk="0">
                  <a:moveTo>
                    <a:pt x="6152" y="1"/>
                  </a:moveTo>
                  <a:cubicBezTo>
                    <a:pt x="2763" y="1"/>
                    <a:pt x="1" y="6236"/>
                    <a:pt x="1" y="13915"/>
                  </a:cubicBezTo>
                  <a:cubicBezTo>
                    <a:pt x="1" y="21615"/>
                    <a:pt x="2763" y="27850"/>
                    <a:pt x="6152" y="27850"/>
                  </a:cubicBezTo>
                  <a:lnTo>
                    <a:pt x="9228" y="27850"/>
                  </a:lnTo>
                  <a:cubicBezTo>
                    <a:pt x="5838" y="27850"/>
                    <a:pt x="3077" y="21615"/>
                    <a:pt x="3077" y="13915"/>
                  </a:cubicBezTo>
                  <a:cubicBezTo>
                    <a:pt x="3077" y="6236"/>
                    <a:pt x="5838" y="1"/>
                    <a:pt x="922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4" name="Google Shape;204;p24"/>
            <p:cNvSpPr/>
            <p:nvPr/>
          </p:nvSpPr>
          <p:spPr>
            <a:xfrm>
              <a:off x="1874350" y="2352950"/>
              <a:ext cx="231225" cy="696275"/>
            </a:xfrm>
            <a:custGeom>
              <a:avLst/>
              <a:gdLst/>
              <a:ahLst/>
              <a:cxnLst/>
              <a:rect l="l" t="t" r="r" b="b"/>
              <a:pathLst>
                <a:path w="9249" h="27851" extrusionOk="0">
                  <a:moveTo>
                    <a:pt x="6152" y="1"/>
                  </a:moveTo>
                  <a:cubicBezTo>
                    <a:pt x="2762" y="1"/>
                    <a:pt x="0" y="6236"/>
                    <a:pt x="0" y="13915"/>
                  </a:cubicBezTo>
                  <a:cubicBezTo>
                    <a:pt x="0" y="21615"/>
                    <a:pt x="2762" y="27850"/>
                    <a:pt x="6152" y="27850"/>
                  </a:cubicBezTo>
                  <a:lnTo>
                    <a:pt x="9249" y="27850"/>
                  </a:lnTo>
                  <a:cubicBezTo>
                    <a:pt x="5838" y="27850"/>
                    <a:pt x="3076" y="21615"/>
                    <a:pt x="3076" y="13915"/>
                  </a:cubicBezTo>
                  <a:cubicBezTo>
                    <a:pt x="3076" y="6236"/>
                    <a:pt x="5838" y="1"/>
                    <a:pt x="924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5" name="Google Shape;205;p24"/>
            <p:cNvSpPr/>
            <p:nvPr/>
          </p:nvSpPr>
          <p:spPr>
            <a:xfrm>
              <a:off x="4408036" y="2610309"/>
              <a:ext cx="285848" cy="333099"/>
            </a:xfrm>
            <a:custGeom>
              <a:avLst/>
              <a:gdLst/>
              <a:ahLst/>
              <a:cxnLst/>
              <a:rect l="l" t="t" r="r" b="b"/>
              <a:pathLst>
                <a:path w="6089" h="8266" extrusionOk="0">
                  <a:moveTo>
                    <a:pt x="0" y="1"/>
                  </a:moveTo>
                  <a:lnTo>
                    <a:pt x="0" y="8266"/>
                  </a:lnTo>
                  <a:lnTo>
                    <a:pt x="3034" y="6634"/>
                  </a:lnTo>
                  <a:lnTo>
                    <a:pt x="6089" y="8266"/>
                  </a:lnTo>
                  <a:lnTo>
                    <a:pt x="6089"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6" name="Google Shape;206;p24"/>
            <p:cNvSpPr/>
            <p:nvPr/>
          </p:nvSpPr>
          <p:spPr>
            <a:xfrm>
              <a:off x="1374800" y="3745425"/>
              <a:ext cx="1771725" cy="275175"/>
            </a:xfrm>
            <a:custGeom>
              <a:avLst/>
              <a:gdLst/>
              <a:ahLst/>
              <a:cxnLst/>
              <a:rect l="l" t="t" r="r" b="b"/>
              <a:pathLst>
                <a:path w="70869" h="11007" extrusionOk="0">
                  <a:moveTo>
                    <a:pt x="6026" y="1"/>
                  </a:moveTo>
                  <a:cubicBezTo>
                    <a:pt x="3055" y="1"/>
                    <a:pt x="586" y="4708"/>
                    <a:pt x="0" y="11006"/>
                  </a:cubicBezTo>
                  <a:lnTo>
                    <a:pt x="64843" y="11006"/>
                  </a:lnTo>
                  <a:cubicBezTo>
                    <a:pt x="65449" y="4708"/>
                    <a:pt x="67918" y="1"/>
                    <a:pt x="70869" y="1"/>
                  </a:cubicBezTo>
                  <a:close/>
                </a:path>
              </a:pathLst>
            </a:custGeom>
            <a:solidFill>
              <a:schemeClr val="accent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7" name="Google Shape;207;p24"/>
            <p:cNvSpPr/>
            <p:nvPr/>
          </p:nvSpPr>
          <p:spPr>
            <a:xfrm>
              <a:off x="3146500" y="3745425"/>
              <a:ext cx="5250" cy="550"/>
            </a:xfrm>
            <a:custGeom>
              <a:avLst/>
              <a:gdLst/>
              <a:ahLst/>
              <a:cxnLst/>
              <a:rect l="l" t="t" r="r" b="b"/>
              <a:pathLst>
                <a:path w="210" h="22" extrusionOk="0">
                  <a:moveTo>
                    <a:pt x="1" y="1"/>
                  </a:moveTo>
                  <a:cubicBezTo>
                    <a:pt x="84" y="1"/>
                    <a:pt x="147" y="1"/>
                    <a:pt x="210" y="22"/>
                  </a:cubicBezTo>
                  <a:lnTo>
                    <a:pt x="210" y="1"/>
                  </a:lnTo>
                  <a:close/>
                </a:path>
              </a:pathLst>
            </a:custGeom>
            <a:solidFill>
              <a:srgbClr val="FFB30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8" name="Google Shape;208;p24"/>
            <p:cNvSpPr/>
            <p:nvPr/>
          </p:nvSpPr>
          <p:spPr>
            <a:xfrm>
              <a:off x="3146500" y="4441650"/>
              <a:ext cx="5250" cy="25"/>
            </a:xfrm>
            <a:custGeom>
              <a:avLst/>
              <a:gdLst/>
              <a:ahLst/>
              <a:cxnLst/>
              <a:rect l="l" t="t" r="r" b="b"/>
              <a:pathLst>
                <a:path w="210" h="1" extrusionOk="0">
                  <a:moveTo>
                    <a:pt x="210" y="1"/>
                  </a:moveTo>
                  <a:cubicBezTo>
                    <a:pt x="147" y="1"/>
                    <a:pt x="84" y="1"/>
                    <a:pt x="1" y="1"/>
                  </a:cubicBezTo>
                  <a:lnTo>
                    <a:pt x="210" y="1"/>
                  </a:lnTo>
                  <a:close/>
                </a:path>
              </a:pathLst>
            </a:custGeom>
            <a:solidFill>
              <a:srgbClr val="FFB30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9" name="Google Shape;209;p24"/>
            <p:cNvSpPr/>
            <p:nvPr/>
          </p:nvSpPr>
          <p:spPr>
            <a:xfrm>
              <a:off x="3187825" y="3049200"/>
              <a:ext cx="1326575" cy="70625"/>
            </a:xfrm>
            <a:custGeom>
              <a:avLst/>
              <a:gdLst/>
              <a:ahLst/>
              <a:cxnLst/>
              <a:rect l="l" t="t" r="r" b="b"/>
              <a:pathLst>
                <a:path w="53063" h="2825" extrusionOk="0">
                  <a:moveTo>
                    <a:pt x="1" y="0"/>
                  </a:moveTo>
                  <a:lnTo>
                    <a:pt x="1" y="2825"/>
                  </a:lnTo>
                  <a:lnTo>
                    <a:pt x="52079" y="2825"/>
                  </a:lnTo>
                  <a:cubicBezTo>
                    <a:pt x="52623" y="2825"/>
                    <a:pt x="53042" y="2197"/>
                    <a:pt x="53042" y="1402"/>
                  </a:cubicBezTo>
                  <a:cubicBezTo>
                    <a:pt x="53063" y="628"/>
                    <a:pt x="52623" y="0"/>
                    <a:pt x="52079" y="0"/>
                  </a:cubicBezTo>
                  <a:close/>
                </a:path>
              </a:pathLst>
            </a:custGeom>
            <a:solidFill>
              <a:srgbClr val="9B742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0" name="Google Shape;210;p24"/>
            <p:cNvSpPr/>
            <p:nvPr/>
          </p:nvSpPr>
          <p:spPr>
            <a:xfrm>
              <a:off x="3215550" y="3119825"/>
              <a:ext cx="1215175" cy="160075"/>
            </a:xfrm>
            <a:custGeom>
              <a:avLst/>
              <a:gdLst/>
              <a:ahLst/>
              <a:cxnLst/>
              <a:rect l="l" t="t" r="r" b="b"/>
              <a:pathLst>
                <a:path w="48607" h="6403" extrusionOk="0">
                  <a:moveTo>
                    <a:pt x="2135" y="0"/>
                  </a:moveTo>
                  <a:cubicBezTo>
                    <a:pt x="1193" y="0"/>
                    <a:pt x="377" y="2636"/>
                    <a:pt x="0" y="6403"/>
                  </a:cubicBezTo>
                  <a:lnTo>
                    <a:pt x="46472" y="6403"/>
                  </a:lnTo>
                  <a:cubicBezTo>
                    <a:pt x="46848" y="2615"/>
                    <a:pt x="47664" y="0"/>
                    <a:pt x="48606" y="0"/>
                  </a:cubicBezTo>
                  <a:close/>
                </a:path>
              </a:pathLst>
            </a:custGeom>
            <a:solidFill>
              <a:srgbClr val="D9D9D9"/>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 name="Google Shape;211;p24"/>
            <p:cNvSpPr/>
            <p:nvPr/>
          </p:nvSpPr>
          <p:spPr>
            <a:xfrm>
              <a:off x="2015050" y="4261200"/>
              <a:ext cx="1859625" cy="347875"/>
            </a:xfrm>
            <a:custGeom>
              <a:avLst/>
              <a:gdLst/>
              <a:ahLst/>
              <a:cxnLst/>
              <a:rect l="l" t="t" r="r" b="b"/>
              <a:pathLst>
                <a:path w="74385" h="13915" extrusionOk="0">
                  <a:moveTo>
                    <a:pt x="74280" y="0"/>
                  </a:moveTo>
                  <a:lnTo>
                    <a:pt x="4060" y="7407"/>
                  </a:lnTo>
                  <a:cubicBezTo>
                    <a:pt x="2679" y="7491"/>
                    <a:pt x="1507" y="8370"/>
                    <a:pt x="1068" y="9688"/>
                  </a:cubicBezTo>
                  <a:lnTo>
                    <a:pt x="168" y="12262"/>
                  </a:lnTo>
                  <a:cubicBezTo>
                    <a:pt x="1" y="12743"/>
                    <a:pt x="147" y="13266"/>
                    <a:pt x="524" y="13601"/>
                  </a:cubicBezTo>
                  <a:cubicBezTo>
                    <a:pt x="754" y="13810"/>
                    <a:pt x="1047" y="13915"/>
                    <a:pt x="1340" y="13915"/>
                  </a:cubicBezTo>
                  <a:cubicBezTo>
                    <a:pt x="1528" y="13915"/>
                    <a:pt x="1717" y="13873"/>
                    <a:pt x="1905" y="13789"/>
                  </a:cubicBezTo>
                  <a:cubicBezTo>
                    <a:pt x="3328" y="13078"/>
                    <a:pt x="5713" y="11466"/>
                    <a:pt x="6131" y="8370"/>
                  </a:cubicBezTo>
                  <a:lnTo>
                    <a:pt x="74384" y="1172"/>
                  </a:lnTo>
                  <a:lnTo>
                    <a:pt x="74280" y="0"/>
                  </a:lnTo>
                  <a:close/>
                </a:path>
              </a:pathLst>
            </a:custGeom>
            <a:solidFill>
              <a:schemeClr val="dk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 name="Google Shape;212;p24"/>
            <p:cNvSpPr/>
            <p:nvPr/>
          </p:nvSpPr>
          <p:spPr>
            <a:xfrm>
              <a:off x="2205975" y="4261200"/>
              <a:ext cx="1859625" cy="347875"/>
            </a:xfrm>
            <a:custGeom>
              <a:avLst/>
              <a:gdLst/>
              <a:ahLst/>
              <a:cxnLst/>
              <a:rect l="l" t="t" r="r" b="b"/>
              <a:pathLst>
                <a:path w="74385" h="13915" extrusionOk="0">
                  <a:moveTo>
                    <a:pt x="126" y="0"/>
                  </a:moveTo>
                  <a:lnTo>
                    <a:pt x="1" y="1172"/>
                  </a:lnTo>
                  <a:lnTo>
                    <a:pt x="68254" y="8370"/>
                  </a:lnTo>
                  <a:cubicBezTo>
                    <a:pt x="68672" y="11466"/>
                    <a:pt x="71058" y="13078"/>
                    <a:pt x="72480" y="13789"/>
                  </a:cubicBezTo>
                  <a:cubicBezTo>
                    <a:pt x="72669" y="13873"/>
                    <a:pt x="72857" y="13915"/>
                    <a:pt x="73045" y="13915"/>
                  </a:cubicBezTo>
                  <a:cubicBezTo>
                    <a:pt x="73338" y="13915"/>
                    <a:pt x="73631" y="13810"/>
                    <a:pt x="73861" y="13601"/>
                  </a:cubicBezTo>
                  <a:cubicBezTo>
                    <a:pt x="74238" y="13266"/>
                    <a:pt x="74384" y="12743"/>
                    <a:pt x="74217" y="12262"/>
                  </a:cubicBezTo>
                  <a:lnTo>
                    <a:pt x="73317" y="9688"/>
                  </a:lnTo>
                  <a:cubicBezTo>
                    <a:pt x="72878" y="8370"/>
                    <a:pt x="71706" y="7491"/>
                    <a:pt x="70325" y="7407"/>
                  </a:cubicBezTo>
                  <a:lnTo>
                    <a:pt x="126" y="0"/>
                  </a:ln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 name="Google Shape;213;p24"/>
            <p:cNvSpPr/>
            <p:nvPr/>
          </p:nvSpPr>
          <p:spPr>
            <a:xfrm>
              <a:off x="3119300" y="4282875"/>
              <a:ext cx="42925" cy="78025"/>
            </a:xfrm>
            <a:custGeom>
              <a:avLst/>
              <a:gdLst/>
              <a:ahLst/>
              <a:cxnLst/>
              <a:rect l="l" t="t" r="r" b="b"/>
              <a:pathLst>
                <a:path w="1717" h="3121" extrusionOk="0">
                  <a:moveTo>
                    <a:pt x="537" y="1"/>
                  </a:moveTo>
                  <a:cubicBezTo>
                    <a:pt x="511" y="1"/>
                    <a:pt x="485" y="4"/>
                    <a:pt x="461" y="12"/>
                  </a:cubicBezTo>
                  <a:cubicBezTo>
                    <a:pt x="105" y="96"/>
                    <a:pt x="1" y="870"/>
                    <a:pt x="231" y="1728"/>
                  </a:cubicBezTo>
                  <a:cubicBezTo>
                    <a:pt x="425" y="2523"/>
                    <a:pt x="852" y="3120"/>
                    <a:pt x="1197" y="3120"/>
                  </a:cubicBezTo>
                  <a:cubicBezTo>
                    <a:pt x="1224" y="3120"/>
                    <a:pt x="1251" y="3116"/>
                    <a:pt x="1277" y="3109"/>
                  </a:cubicBezTo>
                  <a:cubicBezTo>
                    <a:pt x="1612" y="3025"/>
                    <a:pt x="1716" y="2251"/>
                    <a:pt x="1486" y="1393"/>
                  </a:cubicBezTo>
                  <a:cubicBezTo>
                    <a:pt x="1292" y="598"/>
                    <a:pt x="865" y="1"/>
                    <a:pt x="537" y="1"/>
                  </a:cubicBezTo>
                  <a:close/>
                </a:path>
              </a:pathLst>
            </a:custGeom>
            <a:solidFill>
              <a:srgbClr val="FFECB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 name="Google Shape;214;p24"/>
            <p:cNvSpPr/>
            <p:nvPr/>
          </p:nvSpPr>
          <p:spPr>
            <a:xfrm>
              <a:off x="2918425" y="4282875"/>
              <a:ext cx="42925" cy="78025"/>
            </a:xfrm>
            <a:custGeom>
              <a:avLst/>
              <a:gdLst/>
              <a:ahLst/>
              <a:cxnLst/>
              <a:rect l="l" t="t" r="r" b="b"/>
              <a:pathLst>
                <a:path w="1717" h="3121" extrusionOk="0">
                  <a:moveTo>
                    <a:pt x="1197" y="1"/>
                  </a:moveTo>
                  <a:cubicBezTo>
                    <a:pt x="852" y="1"/>
                    <a:pt x="425" y="598"/>
                    <a:pt x="231" y="1393"/>
                  </a:cubicBezTo>
                  <a:cubicBezTo>
                    <a:pt x="1" y="2251"/>
                    <a:pt x="105" y="3025"/>
                    <a:pt x="461" y="3109"/>
                  </a:cubicBezTo>
                  <a:cubicBezTo>
                    <a:pt x="486" y="3116"/>
                    <a:pt x="511" y="3120"/>
                    <a:pt x="537" y="3120"/>
                  </a:cubicBezTo>
                  <a:cubicBezTo>
                    <a:pt x="865" y="3120"/>
                    <a:pt x="1293" y="2523"/>
                    <a:pt x="1486" y="1728"/>
                  </a:cubicBezTo>
                  <a:cubicBezTo>
                    <a:pt x="1717" y="870"/>
                    <a:pt x="1612" y="96"/>
                    <a:pt x="1277" y="12"/>
                  </a:cubicBezTo>
                  <a:cubicBezTo>
                    <a:pt x="1251" y="4"/>
                    <a:pt x="1224" y="1"/>
                    <a:pt x="1197" y="1"/>
                  </a:cubicBezTo>
                  <a:close/>
                </a:path>
              </a:pathLst>
            </a:custGeom>
            <a:solidFill>
              <a:srgbClr val="FFECB3"/>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 name="Google Shape;215;p24"/>
            <p:cNvSpPr/>
            <p:nvPr/>
          </p:nvSpPr>
          <p:spPr>
            <a:xfrm>
              <a:off x="2902750" y="4179075"/>
              <a:ext cx="275150" cy="182575"/>
            </a:xfrm>
            <a:custGeom>
              <a:avLst/>
              <a:gdLst/>
              <a:ahLst/>
              <a:cxnLst/>
              <a:rect l="l" t="t" r="r" b="b"/>
              <a:pathLst>
                <a:path w="11006" h="7303" extrusionOk="0">
                  <a:moveTo>
                    <a:pt x="5503" y="0"/>
                  </a:moveTo>
                  <a:cubicBezTo>
                    <a:pt x="4080" y="0"/>
                    <a:pt x="2909" y="482"/>
                    <a:pt x="2009" y="1423"/>
                  </a:cubicBezTo>
                  <a:cubicBezTo>
                    <a:pt x="0" y="3515"/>
                    <a:pt x="147" y="7156"/>
                    <a:pt x="147" y="7303"/>
                  </a:cubicBezTo>
                  <a:lnTo>
                    <a:pt x="1339" y="7261"/>
                  </a:lnTo>
                  <a:cubicBezTo>
                    <a:pt x="1318" y="7219"/>
                    <a:pt x="1214" y="3955"/>
                    <a:pt x="2867" y="2239"/>
                  </a:cubicBezTo>
                  <a:cubicBezTo>
                    <a:pt x="3536" y="1528"/>
                    <a:pt x="4394" y="1172"/>
                    <a:pt x="5503" y="1172"/>
                  </a:cubicBezTo>
                  <a:cubicBezTo>
                    <a:pt x="6612" y="1172"/>
                    <a:pt x="7470" y="1528"/>
                    <a:pt x="8160" y="2239"/>
                  </a:cubicBezTo>
                  <a:cubicBezTo>
                    <a:pt x="9813" y="3955"/>
                    <a:pt x="9688" y="7219"/>
                    <a:pt x="9688" y="7261"/>
                  </a:cubicBezTo>
                  <a:lnTo>
                    <a:pt x="10860" y="7303"/>
                  </a:lnTo>
                  <a:cubicBezTo>
                    <a:pt x="10860" y="7156"/>
                    <a:pt x="11006" y="3515"/>
                    <a:pt x="9018" y="1423"/>
                  </a:cubicBezTo>
                  <a:cubicBezTo>
                    <a:pt x="8119" y="482"/>
                    <a:pt x="6926" y="0"/>
                    <a:pt x="5503"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6" name="Google Shape;216;p24"/>
            <p:cNvSpPr/>
            <p:nvPr/>
          </p:nvSpPr>
          <p:spPr>
            <a:xfrm>
              <a:off x="2207550" y="3913875"/>
              <a:ext cx="723475" cy="723975"/>
            </a:xfrm>
            <a:custGeom>
              <a:avLst/>
              <a:gdLst/>
              <a:ahLst/>
              <a:cxnLst/>
              <a:rect l="l" t="t" r="r" b="b"/>
              <a:pathLst>
                <a:path w="28939" h="28959" extrusionOk="0">
                  <a:moveTo>
                    <a:pt x="14459" y="0"/>
                  </a:moveTo>
                  <a:cubicBezTo>
                    <a:pt x="6466" y="0"/>
                    <a:pt x="1" y="6486"/>
                    <a:pt x="1" y="14479"/>
                  </a:cubicBezTo>
                  <a:cubicBezTo>
                    <a:pt x="1" y="22472"/>
                    <a:pt x="6466" y="28958"/>
                    <a:pt x="14459" y="28958"/>
                  </a:cubicBezTo>
                  <a:cubicBezTo>
                    <a:pt x="22473" y="28958"/>
                    <a:pt x="28938" y="22472"/>
                    <a:pt x="28938" y="14479"/>
                  </a:cubicBezTo>
                  <a:cubicBezTo>
                    <a:pt x="28938" y="6486"/>
                    <a:pt x="22473" y="0"/>
                    <a:pt x="14459" y="0"/>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7" name="Google Shape;217;p24"/>
            <p:cNvSpPr/>
            <p:nvPr/>
          </p:nvSpPr>
          <p:spPr>
            <a:xfrm>
              <a:off x="2207550" y="3914350"/>
              <a:ext cx="458250" cy="457775"/>
            </a:xfrm>
            <a:custGeom>
              <a:avLst/>
              <a:gdLst/>
              <a:ahLst/>
              <a:cxnLst/>
              <a:rect l="l" t="t" r="r" b="b"/>
              <a:pathLst>
                <a:path w="18330" h="18311" extrusionOk="0">
                  <a:moveTo>
                    <a:pt x="14661" y="0"/>
                  </a:moveTo>
                  <a:cubicBezTo>
                    <a:pt x="14594" y="0"/>
                    <a:pt x="14526" y="1"/>
                    <a:pt x="14459" y="2"/>
                  </a:cubicBezTo>
                  <a:cubicBezTo>
                    <a:pt x="13999" y="2"/>
                    <a:pt x="13559" y="23"/>
                    <a:pt x="13099" y="65"/>
                  </a:cubicBezTo>
                  <a:lnTo>
                    <a:pt x="63" y="13100"/>
                  </a:lnTo>
                  <a:cubicBezTo>
                    <a:pt x="22" y="13540"/>
                    <a:pt x="1" y="14000"/>
                    <a:pt x="1" y="14460"/>
                  </a:cubicBezTo>
                  <a:cubicBezTo>
                    <a:pt x="1" y="15799"/>
                    <a:pt x="168" y="17097"/>
                    <a:pt x="503" y="18310"/>
                  </a:cubicBezTo>
                  <a:lnTo>
                    <a:pt x="18330" y="504"/>
                  </a:lnTo>
                  <a:cubicBezTo>
                    <a:pt x="17157" y="186"/>
                    <a:pt x="15929" y="0"/>
                    <a:pt x="14661"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8" name="Google Shape;218;p24"/>
            <p:cNvSpPr/>
            <p:nvPr/>
          </p:nvSpPr>
          <p:spPr>
            <a:xfrm>
              <a:off x="2239475" y="3946300"/>
              <a:ext cx="526250" cy="526250"/>
            </a:xfrm>
            <a:custGeom>
              <a:avLst/>
              <a:gdLst/>
              <a:ahLst/>
              <a:cxnLst/>
              <a:rect l="l" t="t" r="r" b="b"/>
              <a:pathLst>
                <a:path w="21050" h="21050" extrusionOk="0">
                  <a:moveTo>
                    <a:pt x="19166" y="0"/>
                  </a:moveTo>
                  <a:lnTo>
                    <a:pt x="0" y="19166"/>
                  </a:lnTo>
                  <a:cubicBezTo>
                    <a:pt x="293" y="19815"/>
                    <a:pt x="649" y="20443"/>
                    <a:pt x="1025" y="21049"/>
                  </a:cubicBezTo>
                  <a:lnTo>
                    <a:pt x="21049" y="1026"/>
                  </a:lnTo>
                  <a:cubicBezTo>
                    <a:pt x="20463" y="649"/>
                    <a:pt x="19836" y="293"/>
                    <a:pt x="19166"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9" name="Google Shape;219;p24"/>
            <p:cNvSpPr/>
            <p:nvPr/>
          </p:nvSpPr>
          <p:spPr>
            <a:xfrm>
              <a:off x="2192375" y="3899225"/>
              <a:ext cx="753800" cy="753275"/>
            </a:xfrm>
            <a:custGeom>
              <a:avLst/>
              <a:gdLst/>
              <a:ahLst/>
              <a:cxnLst/>
              <a:rect l="l" t="t" r="r" b="b"/>
              <a:pathLst>
                <a:path w="30152" h="30131" extrusionOk="0">
                  <a:moveTo>
                    <a:pt x="15087" y="1193"/>
                  </a:moveTo>
                  <a:cubicBezTo>
                    <a:pt x="22745" y="1193"/>
                    <a:pt x="28959" y="7407"/>
                    <a:pt x="28959" y="15065"/>
                  </a:cubicBezTo>
                  <a:cubicBezTo>
                    <a:pt x="28959" y="22723"/>
                    <a:pt x="22745" y="28958"/>
                    <a:pt x="15087" y="28958"/>
                  </a:cubicBezTo>
                  <a:cubicBezTo>
                    <a:pt x="7429" y="28958"/>
                    <a:pt x="1194" y="22723"/>
                    <a:pt x="1194" y="15065"/>
                  </a:cubicBezTo>
                  <a:cubicBezTo>
                    <a:pt x="1194" y="7407"/>
                    <a:pt x="7408" y="1193"/>
                    <a:pt x="15087" y="1193"/>
                  </a:cubicBezTo>
                  <a:close/>
                  <a:moveTo>
                    <a:pt x="15087" y="0"/>
                  </a:moveTo>
                  <a:cubicBezTo>
                    <a:pt x="6759" y="0"/>
                    <a:pt x="1" y="6759"/>
                    <a:pt x="1" y="15065"/>
                  </a:cubicBezTo>
                  <a:cubicBezTo>
                    <a:pt x="1" y="23372"/>
                    <a:pt x="6759" y="30130"/>
                    <a:pt x="15087" y="30130"/>
                  </a:cubicBezTo>
                  <a:cubicBezTo>
                    <a:pt x="23394" y="30130"/>
                    <a:pt x="30152" y="23372"/>
                    <a:pt x="30152" y="15065"/>
                  </a:cubicBezTo>
                  <a:cubicBezTo>
                    <a:pt x="30152" y="6759"/>
                    <a:pt x="23394" y="0"/>
                    <a:pt x="15087"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0" name="Google Shape;220;p24"/>
            <p:cNvSpPr/>
            <p:nvPr/>
          </p:nvSpPr>
          <p:spPr>
            <a:xfrm>
              <a:off x="3149650" y="3913875"/>
              <a:ext cx="723450" cy="723975"/>
            </a:xfrm>
            <a:custGeom>
              <a:avLst/>
              <a:gdLst/>
              <a:ahLst/>
              <a:cxnLst/>
              <a:rect l="l" t="t" r="r" b="b"/>
              <a:pathLst>
                <a:path w="28938" h="28959" extrusionOk="0">
                  <a:moveTo>
                    <a:pt x="14479" y="0"/>
                  </a:moveTo>
                  <a:cubicBezTo>
                    <a:pt x="6466" y="0"/>
                    <a:pt x="0" y="6486"/>
                    <a:pt x="0" y="14479"/>
                  </a:cubicBezTo>
                  <a:cubicBezTo>
                    <a:pt x="0" y="22472"/>
                    <a:pt x="6466" y="28958"/>
                    <a:pt x="14479" y="28958"/>
                  </a:cubicBezTo>
                  <a:cubicBezTo>
                    <a:pt x="22472" y="28958"/>
                    <a:pt x="28937" y="22472"/>
                    <a:pt x="28937" y="14479"/>
                  </a:cubicBezTo>
                  <a:cubicBezTo>
                    <a:pt x="28937" y="6486"/>
                    <a:pt x="22472" y="0"/>
                    <a:pt x="14479" y="0"/>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1" name="Google Shape;221;p24"/>
            <p:cNvSpPr/>
            <p:nvPr/>
          </p:nvSpPr>
          <p:spPr>
            <a:xfrm>
              <a:off x="3149125" y="3914350"/>
              <a:ext cx="458775" cy="457775"/>
            </a:xfrm>
            <a:custGeom>
              <a:avLst/>
              <a:gdLst/>
              <a:ahLst/>
              <a:cxnLst/>
              <a:rect l="l" t="t" r="r" b="b"/>
              <a:pathLst>
                <a:path w="18351" h="18311" extrusionOk="0">
                  <a:moveTo>
                    <a:pt x="14681" y="0"/>
                  </a:moveTo>
                  <a:cubicBezTo>
                    <a:pt x="14614" y="0"/>
                    <a:pt x="14547" y="1"/>
                    <a:pt x="14479" y="2"/>
                  </a:cubicBezTo>
                  <a:cubicBezTo>
                    <a:pt x="14019" y="2"/>
                    <a:pt x="13580" y="23"/>
                    <a:pt x="13119" y="65"/>
                  </a:cubicBezTo>
                  <a:lnTo>
                    <a:pt x="84" y="13100"/>
                  </a:lnTo>
                  <a:cubicBezTo>
                    <a:pt x="21" y="13540"/>
                    <a:pt x="0" y="14000"/>
                    <a:pt x="0" y="14460"/>
                  </a:cubicBezTo>
                  <a:cubicBezTo>
                    <a:pt x="0" y="15799"/>
                    <a:pt x="189" y="17097"/>
                    <a:pt x="523" y="18310"/>
                  </a:cubicBezTo>
                  <a:lnTo>
                    <a:pt x="18350" y="504"/>
                  </a:lnTo>
                  <a:cubicBezTo>
                    <a:pt x="17178" y="186"/>
                    <a:pt x="15949" y="0"/>
                    <a:pt x="14681"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2" name="Google Shape;222;p24"/>
            <p:cNvSpPr/>
            <p:nvPr/>
          </p:nvSpPr>
          <p:spPr>
            <a:xfrm>
              <a:off x="3181550" y="3946300"/>
              <a:ext cx="526250" cy="526250"/>
            </a:xfrm>
            <a:custGeom>
              <a:avLst/>
              <a:gdLst/>
              <a:ahLst/>
              <a:cxnLst/>
              <a:rect l="l" t="t" r="r" b="b"/>
              <a:pathLst>
                <a:path w="21050" h="21050" extrusionOk="0">
                  <a:moveTo>
                    <a:pt x="19166" y="0"/>
                  </a:moveTo>
                  <a:lnTo>
                    <a:pt x="0" y="19166"/>
                  </a:lnTo>
                  <a:cubicBezTo>
                    <a:pt x="293" y="19815"/>
                    <a:pt x="649" y="20443"/>
                    <a:pt x="1047" y="21049"/>
                  </a:cubicBezTo>
                  <a:lnTo>
                    <a:pt x="21050" y="1026"/>
                  </a:lnTo>
                  <a:cubicBezTo>
                    <a:pt x="20464" y="649"/>
                    <a:pt x="19836" y="293"/>
                    <a:pt x="19166"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3" name="Google Shape;223;p24"/>
            <p:cNvSpPr/>
            <p:nvPr/>
          </p:nvSpPr>
          <p:spPr>
            <a:xfrm>
              <a:off x="3134475" y="3899225"/>
              <a:ext cx="753800" cy="753275"/>
            </a:xfrm>
            <a:custGeom>
              <a:avLst/>
              <a:gdLst/>
              <a:ahLst/>
              <a:cxnLst/>
              <a:rect l="l" t="t" r="r" b="b"/>
              <a:pathLst>
                <a:path w="30152" h="30131" extrusionOk="0">
                  <a:moveTo>
                    <a:pt x="15086" y="1193"/>
                  </a:moveTo>
                  <a:cubicBezTo>
                    <a:pt x="22744" y="1193"/>
                    <a:pt x="28959" y="7407"/>
                    <a:pt x="28959" y="15065"/>
                  </a:cubicBezTo>
                  <a:cubicBezTo>
                    <a:pt x="28959" y="22723"/>
                    <a:pt x="22744" y="28958"/>
                    <a:pt x="15086" y="28958"/>
                  </a:cubicBezTo>
                  <a:cubicBezTo>
                    <a:pt x="7428" y="28958"/>
                    <a:pt x="1193" y="22723"/>
                    <a:pt x="1193" y="15065"/>
                  </a:cubicBezTo>
                  <a:cubicBezTo>
                    <a:pt x="1193" y="7407"/>
                    <a:pt x="7428" y="1193"/>
                    <a:pt x="15086" y="1193"/>
                  </a:cubicBezTo>
                  <a:close/>
                  <a:moveTo>
                    <a:pt x="15086" y="0"/>
                  </a:moveTo>
                  <a:cubicBezTo>
                    <a:pt x="6759" y="0"/>
                    <a:pt x="0" y="6759"/>
                    <a:pt x="0" y="15065"/>
                  </a:cubicBezTo>
                  <a:cubicBezTo>
                    <a:pt x="0" y="23372"/>
                    <a:pt x="6759" y="30130"/>
                    <a:pt x="15086" y="30130"/>
                  </a:cubicBezTo>
                  <a:cubicBezTo>
                    <a:pt x="23393" y="30130"/>
                    <a:pt x="30151" y="23372"/>
                    <a:pt x="30151" y="15065"/>
                  </a:cubicBezTo>
                  <a:cubicBezTo>
                    <a:pt x="30151" y="6759"/>
                    <a:pt x="23393" y="0"/>
                    <a:pt x="15086"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4" name="Google Shape;224;p24"/>
            <p:cNvSpPr/>
            <p:nvPr/>
          </p:nvSpPr>
          <p:spPr>
            <a:xfrm>
              <a:off x="2167800" y="4241325"/>
              <a:ext cx="53900" cy="69600"/>
            </a:xfrm>
            <a:custGeom>
              <a:avLst/>
              <a:gdLst/>
              <a:ahLst/>
              <a:cxnLst/>
              <a:rect l="l" t="t" r="r" b="b"/>
              <a:pathLst>
                <a:path w="2156" h="2784" extrusionOk="0">
                  <a:moveTo>
                    <a:pt x="1381" y="0"/>
                  </a:moveTo>
                  <a:cubicBezTo>
                    <a:pt x="607" y="0"/>
                    <a:pt x="0" y="628"/>
                    <a:pt x="0" y="1381"/>
                  </a:cubicBezTo>
                  <a:cubicBezTo>
                    <a:pt x="0" y="2155"/>
                    <a:pt x="607" y="2783"/>
                    <a:pt x="1381" y="2783"/>
                  </a:cubicBezTo>
                  <a:cubicBezTo>
                    <a:pt x="2156" y="2783"/>
                    <a:pt x="1381" y="2155"/>
                    <a:pt x="1381" y="1381"/>
                  </a:cubicBezTo>
                  <a:cubicBezTo>
                    <a:pt x="1381" y="628"/>
                    <a:pt x="2156" y="0"/>
                    <a:pt x="1381"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5" name="Google Shape;225;p24"/>
            <p:cNvSpPr/>
            <p:nvPr/>
          </p:nvSpPr>
          <p:spPr>
            <a:xfrm>
              <a:off x="3858950" y="4241325"/>
              <a:ext cx="53900" cy="69600"/>
            </a:xfrm>
            <a:custGeom>
              <a:avLst/>
              <a:gdLst/>
              <a:ahLst/>
              <a:cxnLst/>
              <a:rect l="l" t="t" r="r" b="b"/>
              <a:pathLst>
                <a:path w="2156" h="2784" extrusionOk="0">
                  <a:moveTo>
                    <a:pt x="775" y="0"/>
                  </a:moveTo>
                  <a:cubicBezTo>
                    <a:pt x="1" y="0"/>
                    <a:pt x="775" y="628"/>
                    <a:pt x="775" y="1381"/>
                  </a:cubicBezTo>
                  <a:cubicBezTo>
                    <a:pt x="775" y="2155"/>
                    <a:pt x="1" y="2783"/>
                    <a:pt x="775" y="2783"/>
                  </a:cubicBezTo>
                  <a:cubicBezTo>
                    <a:pt x="1549" y="2783"/>
                    <a:pt x="2156" y="2155"/>
                    <a:pt x="2156" y="1381"/>
                  </a:cubicBezTo>
                  <a:cubicBezTo>
                    <a:pt x="2156" y="628"/>
                    <a:pt x="1549" y="0"/>
                    <a:pt x="775" y="0"/>
                  </a:cubicBezTo>
                  <a:close/>
                </a:path>
              </a:pathLst>
            </a:custGeom>
            <a:solidFill>
              <a:srgbClr val="42424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226" name="Google Shape;226;p24"/>
          <p:cNvSpPr/>
          <p:nvPr/>
        </p:nvSpPr>
        <p:spPr>
          <a:xfrm>
            <a:off x="1062543" y="2854761"/>
            <a:ext cx="389495" cy="389495"/>
          </a:xfrm>
          <a:custGeom>
            <a:avLst/>
            <a:gdLst/>
            <a:ahLst/>
            <a:cxnLst/>
            <a:rect l="l" t="t" r="r" b="b"/>
            <a:pathLst>
              <a:path w="7994" h="7994" extrusionOk="0">
                <a:moveTo>
                  <a:pt x="3997" y="0"/>
                </a:moveTo>
                <a:cubicBezTo>
                  <a:pt x="3537" y="0"/>
                  <a:pt x="3160" y="377"/>
                  <a:pt x="3160" y="837"/>
                </a:cubicBezTo>
                <a:lnTo>
                  <a:pt x="3160" y="3160"/>
                </a:lnTo>
                <a:lnTo>
                  <a:pt x="858" y="3160"/>
                </a:lnTo>
                <a:cubicBezTo>
                  <a:pt x="377" y="3160"/>
                  <a:pt x="1" y="3536"/>
                  <a:pt x="1" y="3997"/>
                </a:cubicBezTo>
                <a:cubicBezTo>
                  <a:pt x="1" y="4457"/>
                  <a:pt x="377" y="4834"/>
                  <a:pt x="858" y="4834"/>
                </a:cubicBezTo>
                <a:lnTo>
                  <a:pt x="3160" y="4834"/>
                </a:lnTo>
                <a:lnTo>
                  <a:pt x="3160" y="7156"/>
                </a:lnTo>
                <a:cubicBezTo>
                  <a:pt x="3160" y="7617"/>
                  <a:pt x="3537" y="7993"/>
                  <a:pt x="3997" y="7993"/>
                </a:cubicBezTo>
                <a:cubicBezTo>
                  <a:pt x="4457" y="7993"/>
                  <a:pt x="4855" y="7617"/>
                  <a:pt x="4855" y="7156"/>
                </a:cubicBezTo>
                <a:lnTo>
                  <a:pt x="4855" y="4834"/>
                </a:lnTo>
                <a:lnTo>
                  <a:pt x="7156" y="4834"/>
                </a:lnTo>
                <a:cubicBezTo>
                  <a:pt x="7617" y="4834"/>
                  <a:pt x="7993" y="4457"/>
                  <a:pt x="7993" y="3997"/>
                </a:cubicBezTo>
                <a:cubicBezTo>
                  <a:pt x="7993" y="3536"/>
                  <a:pt x="7617" y="3160"/>
                  <a:pt x="7156" y="3160"/>
                </a:cubicBezTo>
                <a:lnTo>
                  <a:pt x="4855" y="3160"/>
                </a:lnTo>
                <a:lnTo>
                  <a:pt x="4855" y="837"/>
                </a:lnTo>
                <a:cubicBezTo>
                  <a:pt x="4855" y="377"/>
                  <a:pt x="4457" y="0"/>
                  <a:pt x="3997"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7" name="Google Shape;227;p24"/>
          <p:cNvSpPr/>
          <p:nvPr/>
        </p:nvSpPr>
        <p:spPr>
          <a:xfrm>
            <a:off x="6095991" y="4934099"/>
            <a:ext cx="471197" cy="471085"/>
          </a:xfrm>
          <a:custGeom>
            <a:avLst/>
            <a:gdLst/>
            <a:ahLst/>
            <a:cxnLst/>
            <a:rect l="l" t="t" r="r" b="b"/>
            <a:pathLst>
              <a:path w="2931" h="2930" extrusionOk="0">
                <a:moveTo>
                  <a:pt x="1466" y="0"/>
                </a:moveTo>
                <a:cubicBezTo>
                  <a:pt x="1298" y="0"/>
                  <a:pt x="1152" y="147"/>
                  <a:pt x="1152" y="314"/>
                </a:cubicBezTo>
                <a:lnTo>
                  <a:pt x="1152" y="1172"/>
                </a:lnTo>
                <a:lnTo>
                  <a:pt x="315" y="1172"/>
                </a:lnTo>
                <a:cubicBezTo>
                  <a:pt x="147" y="1172"/>
                  <a:pt x="1" y="1298"/>
                  <a:pt x="1" y="1465"/>
                </a:cubicBezTo>
                <a:cubicBezTo>
                  <a:pt x="1" y="1632"/>
                  <a:pt x="147" y="1779"/>
                  <a:pt x="315" y="1779"/>
                </a:cubicBezTo>
                <a:lnTo>
                  <a:pt x="1152" y="1779"/>
                </a:lnTo>
                <a:lnTo>
                  <a:pt x="1152" y="2637"/>
                </a:lnTo>
                <a:cubicBezTo>
                  <a:pt x="1152" y="2804"/>
                  <a:pt x="1298" y="2930"/>
                  <a:pt x="1466" y="2930"/>
                </a:cubicBezTo>
                <a:cubicBezTo>
                  <a:pt x="1633" y="2930"/>
                  <a:pt x="1779" y="2804"/>
                  <a:pt x="1779" y="2637"/>
                </a:cubicBezTo>
                <a:lnTo>
                  <a:pt x="1779" y="1779"/>
                </a:lnTo>
                <a:lnTo>
                  <a:pt x="2616" y="1779"/>
                </a:lnTo>
                <a:cubicBezTo>
                  <a:pt x="2805" y="1779"/>
                  <a:pt x="2930" y="1632"/>
                  <a:pt x="2930" y="1465"/>
                </a:cubicBezTo>
                <a:cubicBezTo>
                  <a:pt x="2930" y="1298"/>
                  <a:pt x="2805" y="1172"/>
                  <a:pt x="2616" y="1172"/>
                </a:cubicBezTo>
                <a:lnTo>
                  <a:pt x="1779" y="1172"/>
                </a:lnTo>
                <a:lnTo>
                  <a:pt x="1779" y="314"/>
                </a:lnTo>
                <a:cubicBezTo>
                  <a:pt x="1779" y="147"/>
                  <a:pt x="1633" y="0"/>
                  <a:pt x="1466" y="0"/>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8" name="Google Shape;228;p24"/>
          <p:cNvSpPr/>
          <p:nvPr/>
        </p:nvSpPr>
        <p:spPr>
          <a:xfrm>
            <a:off x="2900907" y="1717529"/>
            <a:ext cx="769671" cy="769628"/>
          </a:xfrm>
          <a:custGeom>
            <a:avLst/>
            <a:gdLst/>
            <a:ahLst/>
            <a:cxnLst/>
            <a:rect l="l" t="t" r="r" b="b"/>
            <a:pathLst>
              <a:path w="4207" h="4207" extrusionOk="0">
                <a:moveTo>
                  <a:pt x="2093" y="1"/>
                </a:moveTo>
                <a:cubicBezTo>
                  <a:pt x="1863" y="1"/>
                  <a:pt x="1654" y="210"/>
                  <a:pt x="1654" y="440"/>
                </a:cubicBezTo>
                <a:lnTo>
                  <a:pt x="1654" y="1675"/>
                </a:lnTo>
                <a:lnTo>
                  <a:pt x="440" y="1675"/>
                </a:lnTo>
                <a:cubicBezTo>
                  <a:pt x="189" y="1675"/>
                  <a:pt x="1" y="1863"/>
                  <a:pt x="1" y="2114"/>
                </a:cubicBezTo>
                <a:cubicBezTo>
                  <a:pt x="1" y="2344"/>
                  <a:pt x="189" y="2553"/>
                  <a:pt x="440" y="2553"/>
                </a:cubicBezTo>
                <a:lnTo>
                  <a:pt x="1654" y="2553"/>
                </a:lnTo>
                <a:lnTo>
                  <a:pt x="1654" y="3767"/>
                </a:lnTo>
                <a:cubicBezTo>
                  <a:pt x="1654" y="4018"/>
                  <a:pt x="1863" y="4206"/>
                  <a:pt x="2093" y="4206"/>
                </a:cubicBezTo>
                <a:cubicBezTo>
                  <a:pt x="2344" y="4206"/>
                  <a:pt x="2533" y="4018"/>
                  <a:pt x="2533" y="3767"/>
                </a:cubicBezTo>
                <a:lnTo>
                  <a:pt x="2533" y="2553"/>
                </a:lnTo>
                <a:lnTo>
                  <a:pt x="3767" y="2553"/>
                </a:lnTo>
                <a:cubicBezTo>
                  <a:pt x="3997" y="2553"/>
                  <a:pt x="4206" y="2344"/>
                  <a:pt x="4206" y="2114"/>
                </a:cubicBezTo>
                <a:cubicBezTo>
                  <a:pt x="4206" y="1863"/>
                  <a:pt x="4018" y="1675"/>
                  <a:pt x="3767" y="1675"/>
                </a:cubicBezTo>
                <a:lnTo>
                  <a:pt x="2533" y="1675"/>
                </a:lnTo>
                <a:lnTo>
                  <a:pt x="2533" y="440"/>
                </a:lnTo>
                <a:cubicBezTo>
                  <a:pt x="2533" y="210"/>
                  <a:pt x="2344" y="1"/>
                  <a:pt x="2093" y="1"/>
                </a:cubicBezTo>
                <a:close/>
              </a:path>
            </a:pathLst>
          </a:custGeom>
          <a:solidFill>
            <a:srgbClr val="F4EFE0"/>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6583757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2"/>
        </a:solidFill>
        <a:effectLst/>
      </p:bgPr>
    </p:bg>
    <p:spTree>
      <p:nvGrpSpPr>
        <p:cNvPr id="1" name="Shape 232"/>
        <p:cNvGrpSpPr/>
        <p:nvPr/>
      </p:nvGrpSpPr>
      <p:grpSpPr>
        <a:xfrm>
          <a:off x="0" y="0"/>
          <a:ext cx="0" cy="0"/>
          <a:chOff x="0" y="0"/>
          <a:chExt cx="0" cy="0"/>
        </a:xfrm>
      </p:grpSpPr>
      <p:sp>
        <p:nvSpPr>
          <p:cNvPr id="233" name="Google Shape;233;p25"/>
          <p:cNvSpPr txBox="1">
            <a:spLocks noGrp="1"/>
          </p:cNvSpPr>
          <p:nvPr>
            <p:ph type="title"/>
          </p:nvPr>
        </p:nvSpPr>
        <p:spPr>
          <a:xfrm>
            <a:off x="952167" y="725267"/>
            <a:ext cx="10288000" cy="491600"/>
          </a:xfrm>
          <a:prstGeom prst="rect">
            <a:avLst/>
          </a:prstGeom>
        </p:spPr>
        <p:txBody>
          <a:bodyPr spcFirstLastPara="1" wrap="square" lIns="121900" tIns="121900" rIns="121900" bIns="121900" anchor="ctr" anchorCtr="0">
            <a:noAutofit/>
          </a:bodyPr>
          <a:lstStyle/>
          <a:p>
            <a:pPr>
              <a:buClr>
                <a:schemeClr val="dk1"/>
              </a:buClr>
              <a:buSzPts val="1100"/>
            </a:pPr>
            <a:r>
              <a:rPr lang="en"/>
              <a:t>What is ASCC? </a:t>
            </a:r>
            <a:endParaRPr/>
          </a:p>
        </p:txBody>
      </p:sp>
      <p:sp>
        <p:nvSpPr>
          <p:cNvPr id="234" name="Google Shape;234;p25"/>
          <p:cNvSpPr txBox="1">
            <a:spLocks noGrp="1"/>
          </p:cNvSpPr>
          <p:nvPr>
            <p:ph type="body" idx="1"/>
          </p:nvPr>
        </p:nvSpPr>
        <p:spPr>
          <a:xfrm>
            <a:off x="952000" y="1419167"/>
            <a:ext cx="10288000" cy="4284800"/>
          </a:xfrm>
          <a:prstGeom prst="rect">
            <a:avLst/>
          </a:prstGeom>
        </p:spPr>
        <p:txBody>
          <a:bodyPr spcFirstLastPara="1" wrap="square" lIns="121900" tIns="121900" rIns="121900" bIns="121900" anchor="t" anchorCtr="0">
            <a:noAutofit/>
          </a:bodyPr>
          <a:lstStyle/>
          <a:p>
            <a:pPr marL="0" indent="0">
              <a:lnSpc>
                <a:spcPct val="90000"/>
              </a:lnSpc>
              <a:buClr>
                <a:schemeClr val="dk1"/>
              </a:buClr>
              <a:buSzPts val="1100"/>
              <a:buNone/>
            </a:pPr>
            <a:endParaRPr sz="1467"/>
          </a:p>
          <a:p>
            <a:pPr marL="0" indent="0">
              <a:spcAft>
                <a:spcPts val="2133"/>
              </a:spcAft>
              <a:buNone/>
            </a:pPr>
            <a:endParaRPr sz="1467"/>
          </a:p>
        </p:txBody>
      </p:sp>
      <p:sp>
        <p:nvSpPr>
          <p:cNvPr id="235" name="Google Shape;235;p25"/>
          <p:cNvSpPr txBox="1"/>
          <p:nvPr/>
        </p:nvSpPr>
        <p:spPr>
          <a:xfrm>
            <a:off x="943333" y="5665833"/>
            <a:ext cx="10296800" cy="403200"/>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90000"/>
              </a:lnSpc>
              <a:spcBef>
                <a:spcPts val="0"/>
              </a:spcBef>
              <a:spcAft>
                <a:spcPts val="0"/>
              </a:spcAft>
              <a:buClr>
                <a:srgbClr val="000000"/>
              </a:buClr>
              <a:buSzPts val="1100"/>
              <a:buFontTx/>
              <a:buNone/>
              <a:tabLst/>
              <a:defRPr/>
            </a:pPr>
            <a:endParaRPr kumimoji="0" sz="1733" b="0" i="0" u="none" strike="noStrike" kern="0" cap="none" spc="0" normalizeH="0" baseline="0" noProof="0">
              <a:ln>
                <a:noFill/>
              </a:ln>
              <a:solidFill>
                <a:srgbClr val="627F4C"/>
              </a:solidFill>
              <a:effectLst/>
              <a:uLnTx/>
              <a:uFillTx/>
              <a:latin typeface="Roboto"/>
              <a:ea typeface="Roboto"/>
              <a:cs typeface="Roboto"/>
              <a:sym typeface="Roboto"/>
            </a:endParaRPr>
          </a:p>
        </p:txBody>
      </p:sp>
      <p:pic>
        <p:nvPicPr>
          <p:cNvPr id="236" name="Google Shape;236;p25"/>
          <p:cNvPicPr preferRelativeResize="0"/>
          <p:nvPr/>
        </p:nvPicPr>
        <p:blipFill>
          <a:blip r:embed="rId3">
            <a:alphaModFix/>
          </a:blip>
          <a:stretch>
            <a:fillRect/>
          </a:stretch>
        </p:blipFill>
        <p:spPr>
          <a:xfrm>
            <a:off x="3402500" y="1997818"/>
            <a:ext cx="5870899" cy="3501701"/>
          </a:xfrm>
          <a:prstGeom prst="rect">
            <a:avLst/>
          </a:prstGeom>
          <a:noFill/>
          <a:ln w="9525" cap="flat" cmpd="sng">
            <a:solidFill>
              <a:schemeClr val="dk2"/>
            </a:solidFill>
            <a:prstDash val="solid"/>
            <a:round/>
            <a:headEnd type="none" w="sm" len="sm"/>
            <a:tailEnd type="none" w="sm" len="sm"/>
          </a:ln>
        </p:spPr>
      </p:pic>
    </p:spTree>
    <p:extLst>
      <p:ext uri="{BB962C8B-B14F-4D97-AF65-F5344CB8AC3E}">
        <p14:creationId xmlns:p14="http://schemas.microsoft.com/office/powerpoint/2010/main" val="14318452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p26"/>
          <p:cNvSpPr txBox="1">
            <a:spLocks noGrp="1"/>
          </p:cNvSpPr>
          <p:nvPr>
            <p:ph type="title" idx="6"/>
          </p:nvPr>
        </p:nvSpPr>
        <p:spPr>
          <a:xfrm>
            <a:off x="952167" y="725433"/>
            <a:ext cx="10287600" cy="487600"/>
          </a:xfrm>
          <a:prstGeom prst="rect">
            <a:avLst/>
          </a:prstGeom>
        </p:spPr>
        <p:txBody>
          <a:bodyPr spcFirstLastPara="1" wrap="square" lIns="121900" tIns="121900" rIns="121900" bIns="121900" anchor="ctr" anchorCtr="0">
            <a:noAutofit/>
          </a:bodyPr>
          <a:lstStyle/>
          <a:p>
            <a:r>
              <a:rPr lang="en"/>
              <a:t>Meet The Team!</a:t>
            </a:r>
            <a:endParaRPr/>
          </a:p>
        </p:txBody>
      </p:sp>
      <p:sp>
        <p:nvSpPr>
          <p:cNvPr id="242" name="Google Shape;242;p26"/>
          <p:cNvSpPr txBox="1">
            <a:spLocks noGrp="1"/>
          </p:cNvSpPr>
          <p:nvPr>
            <p:ph type="title"/>
          </p:nvPr>
        </p:nvSpPr>
        <p:spPr>
          <a:xfrm>
            <a:off x="731167" y="1814867"/>
            <a:ext cx="2400000" cy="1128400"/>
          </a:xfrm>
          <a:prstGeom prst="rect">
            <a:avLst/>
          </a:prstGeom>
        </p:spPr>
        <p:txBody>
          <a:bodyPr spcFirstLastPara="1" wrap="square" lIns="121900" tIns="121900" rIns="121900" bIns="121900" anchor="ctr" anchorCtr="0">
            <a:noAutofit/>
          </a:bodyPr>
          <a:lstStyle/>
          <a:p>
            <a:pPr>
              <a:buClr>
                <a:schemeClr val="dk1"/>
              </a:buClr>
              <a:buSzPts val="1100"/>
            </a:pPr>
            <a:r>
              <a:rPr lang="en" sz="1467"/>
              <a:t>President:</a:t>
            </a:r>
            <a:endParaRPr sz="1467"/>
          </a:p>
          <a:p>
            <a:pPr>
              <a:buClr>
                <a:schemeClr val="dk1"/>
              </a:buClr>
              <a:buSzPts val="1100"/>
            </a:pPr>
            <a:r>
              <a:rPr lang="en" sz="1467"/>
              <a:t> Xitlali Curincita </a:t>
            </a:r>
            <a:endParaRPr sz="1467"/>
          </a:p>
        </p:txBody>
      </p:sp>
      <p:sp>
        <p:nvSpPr>
          <p:cNvPr id="243" name="Google Shape;243;p26"/>
          <p:cNvSpPr txBox="1">
            <a:spLocks noGrp="1"/>
          </p:cNvSpPr>
          <p:nvPr>
            <p:ph type="title" idx="4"/>
          </p:nvPr>
        </p:nvSpPr>
        <p:spPr>
          <a:xfrm>
            <a:off x="6021233" y="1814867"/>
            <a:ext cx="2923200" cy="1128400"/>
          </a:xfrm>
          <a:prstGeom prst="rect">
            <a:avLst/>
          </a:prstGeom>
        </p:spPr>
        <p:txBody>
          <a:bodyPr spcFirstLastPara="1" wrap="square" lIns="121900" tIns="121900" rIns="121900" bIns="121900" anchor="ctr" anchorCtr="0">
            <a:noAutofit/>
          </a:bodyPr>
          <a:lstStyle/>
          <a:p>
            <a:pPr algn="l">
              <a:spcBef>
                <a:spcPts val="1067"/>
              </a:spcBef>
              <a:spcAft>
                <a:spcPts val="1067"/>
              </a:spcAft>
            </a:pPr>
            <a:r>
              <a:rPr lang="en" sz="1467"/>
              <a:t>Senate Advisor:            Griselda Paredes</a:t>
            </a:r>
            <a:endParaRPr/>
          </a:p>
        </p:txBody>
      </p:sp>
      <p:sp>
        <p:nvSpPr>
          <p:cNvPr id="244" name="Google Shape;244;p26"/>
          <p:cNvSpPr txBox="1">
            <a:spLocks noGrp="1"/>
          </p:cNvSpPr>
          <p:nvPr>
            <p:ph type="title" idx="5"/>
          </p:nvPr>
        </p:nvSpPr>
        <p:spPr>
          <a:xfrm>
            <a:off x="3293051" y="1975075"/>
            <a:ext cx="2400000" cy="808000"/>
          </a:xfrm>
          <a:prstGeom prst="rect">
            <a:avLst/>
          </a:prstGeom>
        </p:spPr>
        <p:txBody>
          <a:bodyPr spcFirstLastPara="1" wrap="square" lIns="121900" tIns="121900" rIns="121900" bIns="121900" anchor="ctr" anchorCtr="0">
            <a:noAutofit/>
          </a:bodyPr>
          <a:lstStyle/>
          <a:p>
            <a:r>
              <a:rPr lang="en" sz="1467"/>
              <a:t>Vice President:  Jesion Velasquez</a:t>
            </a:r>
            <a:endParaRPr/>
          </a:p>
        </p:txBody>
      </p:sp>
      <p:sp>
        <p:nvSpPr>
          <p:cNvPr id="245" name="Google Shape;245;p26"/>
          <p:cNvSpPr txBox="1">
            <a:spLocks noGrp="1"/>
          </p:cNvSpPr>
          <p:nvPr>
            <p:ph type="title" idx="13"/>
          </p:nvPr>
        </p:nvSpPr>
        <p:spPr>
          <a:xfrm>
            <a:off x="8609700" y="1975067"/>
            <a:ext cx="2400000" cy="968400"/>
          </a:xfrm>
          <a:prstGeom prst="rect">
            <a:avLst/>
          </a:prstGeom>
        </p:spPr>
        <p:txBody>
          <a:bodyPr spcFirstLastPara="1" wrap="square" lIns="121900" tIns="121900" rIns="121900" bIns="121900" anchor="ctr" anchorCtr="0">
            <a:noAutofit/>
          </a:bodyPr>
          <a:lstStyle/>
          <a:p>
            <a:pPr algn="l">
              <a:lnSpc>
                <a:spcPct val="105000"/>
              </a:lnSpc>
            </a:pPr>
            <a:r>
              <a:rPr lang="en" sz="1467"/>
              <a:t>Student Life and Leadership Assistant:</a:t>
            </a:r>
            <a:endParaRPr sz="1467"/>
          </a:p>
          <a:p>
            <a:pPr algn="l">
              <a:lnSpc>
                <a:spcPct val="105000"/>
              </a:lnSpc>
            </a:pPr>
            <a:r>
              <a:rPr lang="en" sz="1467"/>
              <a:t>Joshua Forman-Ortiz</a:t>
            </a:r>
            <a:endParaRPr/>
          </a:p>
        </p:txBody>
      </p:sp>
      <p:pic>
        <p:nvPicPr>
          <p:cNvPr id="246" name="Google Shape;246;p26"/>
          <p:cNvPicPr preferRelativeResize="0"/>
          <p:nvPr/>
        </p:nvPicPr>
        <p:blipFill>
          <a:blip r:embed="rId3">
            <a:alphaModFix/>
          </a:blip>
          <a:stretch>
            <a:fillRect/>
          </a:stretch>
        </p:blipFill>
        <p:spPr>
          <a:xfrm>
            <a:off x="826267" y="2936917"/>
            <a:ext cx="2209800" cy="2984500"/>
          </a:xfrm>
          <a:prstGeom prst="rect">
            <a:avLst/>
          </a:prstGeom>
          <a:noFill/>
          <a:ln>
            <a:noFill/>
          </a:ln>
        </p:spPr>
      </p:pic>
      <p:pic>
        <p:nvPicPr>
          <p:cNvPr id="247" name="Google Shape;247;p26"/>
          <p:cNvPicPr preferRelativeResize="0"/>
          <p:nvPr/>
        </p:nvPicPr>
        <p:blipFill>
          <a:blip r:embed="rId4">
            <a:alphaModFix/>
          </a:blip>
          <a:stretch>
            <a:fillRect/>
          </a:stretch>
        </p:blipFill>
        <p:spPr>
          <a:xfrm>
            <a:off x="3381818" y="2943267"/>
            <a:ext cx="2222500" cy="2971800"/>
          </a:xfrm>
          <a:prstGeom prst="rect">
            <a:avLst/>
          </a:prstGeom>
          <a:noFill/>
          <a:ln>
            <a:noFill/>
          </a:ln>
        </p:spPr>
      </p:pic>
      <p:pic>
        <p:nvPicPr>
          <p:cNvPr id="248" name="Google Shape;248;p26"/>
          <p:cNvPicPr preferRelativeResize="0"/>
          <p:nvPr/>
        </p:nvPicPr>
        <p:blipFill rotWithShape="1">
          <a:blip r:embed="rId5">
            <a:alphaModFix/>
          </a:blip>
          <a:srcRect t="2799"/>
          <a:stretch/>
        </p:blipFill>
        <p:spPr>
          <a:xfrm>
            <a:off x="5914700" y="3306300"/>
            <a:ext cx="2507333" cy="2423133"/>
          </a:xfrm>
          <a:prstGeom prst="rect">
            <a:avLst/>
          </a:prstGeom>
          <a:noFill/>
          <a:ln>
            <a:noFill/>
          </a:ln>
        </p:spPr>
      </p:pic>
      <p:pic>
        <p:nvPicPr>
          <p:cNvPr id="249" name="Google Shape;249;p26"/>
          <p:cNvPicPr preferRelativeResize="0"/>
          <p:nvPr/>
        </p:nvPicPr>
        <p:blipFill>
          <a:blip r:embed="rId6">
            <a:alphaModFix/>
          </a:blip>
          <a:stretch>
            <a:fillRect/>
          </a:stretch>
        </p:blipFill>
        <p:spPr>
          <a:xfrm>
            <a:off x="8732434" y="3225301"/>
            <a:ext cx="2507333" cy="2515412"/>
          </a:xfrm>
          <a:prstGeom prst="rect">
            <a:avLst/>
          </a:prstGeom>
          <a:noFill/>
          <a:ln>
            <a:noFill/>
          </a:ln>
        </p:spPr>
      </p:pic>
    </p:spTree>
    <p:extLst>
      <p:ext uri="{BB962C8B-B14F-4D97-AF65-F5344CB8AC3E}">
        <p14:creationId xmlns:p14="http://schemas.microsoft.com/office/powerpoint/2010/main" val="41620142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3"/>
        <p:cNvGrpSpPr/>
        <p:nvPr/>
      </p:nvGrpSpPr>
      <p:grpSpPr>
        <a:xfrm>
          <a:off x="0" y="0"/>
          <a:ext cx="0" cy="0"/>
          <a:chOff x="0" y="0"/>
          <a:chExt cx="0" cy="0"/>
        </a:xfrm>
      </p:grpSpPr>
      <p:sp>
        <p:nvSpPr>
          <p:cNvPr id="254" name="Google Shape;254;p27"/>
          <p:cNvSpPr txBox="1">
            <a:spLocks noGrp="1"/>
          </p:cNvSpPr>
          <p:nvPr>
            <p:ph type="title"/>
          </p:nvPr>
        </p:nvSpPr>
        <p:spPr>
          <a:xfrm>
            <a:off x="571417" y="2135251"/>
            <a:ext cx="2400000" cy="487600"/>
          </a:xfrm>
          <a:prstGeom prst="rect">
            <a:avLst/>
          </a:prstGeom>
        </p:spPr>
        <p:txBody>
          <a:bodyPr spcFirstLastPara="1" wrap="square" lIns="121900" tIns="121900" rIns="121900" bIns="121900" anchor="ctr" anchorCtr="0">
            <a:noAutofit/>
          </a:bodyPr>
          <a:lstStyle/>
          <a:p>
            <a:r>
              <a:rPr lang="en" sz="1467"/>
              <a:t>Commissioner of Public Records: Bellamy Cramer</a:t>
            </a:r>
            <a:endParaRPr sz="1467"/>
          </a:p>
        </p:txBody>
      </p:sp>
      <p:sp>
        <p:nvSpPr>
          <p:cNvPr id="255" name="Google Shape;255;p27"/>
          <p:cNvSpPr txBox="1">
            <a:spLocks noGrp="1"/>
          </p:cNvSpPr>
          <p:nvPr>
            <p:ph type="title" idx="4"/>
          </p:nvPr>
        </p:nvSpPr>
        <p:spPr>
          <a:xfrm>
            <a:off x="6331884" y="2135251"/>
            <a:ext cx="2400000" cy="487600"/>
          </a:xfrm>
          <a:prstGeom prst="rect">
            <a:avLst/>
          </a:prstGeom>
        </p:spPr>
        <p:txBody>
          <a:bodyPr spcFirstLastPara="1" wrap="square" lIns="121900" tIns="121900" rIns="121900" bIns="121900" anchor="ctr" anchorCtr="0">
            <a:noAutofit/>
          </a:bodyPr>
          <a:lstStyle/>
          <a:p>
            <a:pPr>
              <a:buClr>
                <a:schemeClr val="dk1"/>
              </a:buClr>
              <a:buSzPts val="1100"/>
            </a:pPr>
            <a:r>
              <a:rPr lang="en" sz="1467"/>
              <a:t>Commissioner of Finances: Diana Castro</a:t>
            </a:r>
            <a:endParaRPr sz="1467"/>
          </a:p>
        </p:txBody>
      </p:sp>
      <p:sp>
        <p:nvSpPr>
          <p:cNvPr id="256" name="Google Shape;256;p27"/>
          <p:cNvSpPr txBox="1">
            <a:spLocks noGrp="1"/>
          </p:cNvSpPr>
          <p:nvPr>
            <p:ph type="title" idx="5"/>
          </p:nvPr>
        </p:nvSpPr>
        <p:spPr>
          <a:xfrm>
            <a:off x="3451651" y="2135251"/>
            <a:ext cx="2400000" cy="487600"/>
          </a:xfrm>
          <a:prstGeom prst="rect">
            <a:avLst/>
          </a:prstGeom>
        </p:spPr>
        <p:txBody>
          <a:bodyPr spcFirstLastPara="1" wrap="square" lIns="121900" tIns="121900" rIns="121900" bIns="121900" anchor="ctr" anchorCtr="0">
            <a:noAutofit/>
          </a:bodyPr>
          <a:lstStyle/>
          <a:p>
            <a:r>
              <a:rPr lang="en" sz="1467"/>
              <a:t>Commissioner of Publicity: Brittney Samora Delgadillo</a:t>
            </a:r>
            <a:endParaRPr/>
          </a:p>
        </p:txBody>
      </p:sp>
      <p:sp>
        <p:nvSpPr>
          <p:cNvPr id="257" name="Google Shape;257;p27"/>
          <p:cNvSpPr txBox="1">
            <a:spLocks noGrp="1"/>
          </p:cNvSpPr>
          <p:nvPr>
            <p:ph type="title" idx="6"/>
          </p:nvPr>
        </p:nvSpPr>
        <p:spPr>
          <a:xfrm>
            <a:off x="952167" y="725433"/>
            <a:ext cx="10287600" cy="487600"/>
          </a:xfrm>
          <a:prstGeom prst="rect">
            <a:avLst/>
          </a:prstGeom>
        </p:spPr>
        <p:txBody>
          <a:bodyPr spcFirstLastPara="1" wrap="square" lIns="121900" tIns="121900" rIns="121900" bIns="121900" anchor="ctr" anchorCtr="0">
            <a:noAutofit/>
          </a:bodyPr>
          <a:lstStyle/>
          <a:p>
            <a:r>
              <a:rPr lang="en"/>
              <a:t>Meet The Team!</a:t>
            </a:r>
            <a:endParaRPr/>
          </a:p>
        </p:txBody>
      </p:sp>
      <p:sp>
        <p:nvSpPr>
          <p:cNvPr id="258" name="Google Shape;258;p27"/>
          <p:cNvSpPr txBox="1"/>
          <p:nvPr/>
        </p:nvSpPr>
        <p:spPr>
          <a:xfrm>
            <a:off x="9022933" y="1917268"/>
            <a:ext cx="2806400" cy="697715"/>
          </a:xfrm>
          <a:prstGeom prst="rect">
            <a:avLst/>
          </a:prstGeom>
          <a:noFill/>
          <a:ln>
            <a:noFill/>
          </a:ln>
        </p:spPr>
        <p:txBody>
          <a:bodyPr spcFirstLastPara="1" wrap="square" lIns="121900" tIns="121900" rIns="121900" bIns="121900"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rPr>
              <a:t>Commissioner of Activities: Upashana Prakash</a:t>
            </a:r>
            <a:endParaRPr kumimoji="0" sz="1467" b="1" i="0" u="none" strike="noStrike" kern="0" cap="none" spc="0" normalizeH="0" baseline="0" noProof="0">
              <a:ln>
                <a:noFill/>
              </a:ln>
              <a:solidFill>
                <a:srgbClr val="627F4C"/>
              </a:solidFill>
              <a:effectLst/>
              <a:uLnTx/>
              <a:uFillTx/>
              <a:latin typeface="Libre Baskerville"/>
              <a:ea typeface="Libre Baskerville"/>
              <a:cs typeface="Libre Baskerville"/>
              <a:sym typeface="Libre Baskerville"/>
            </a:endParaRPr>
          </a:p>
        </p:txBody>
      </p:sp>
      <p:pic>
        <p:nvPicPr>
          <p:cNvPr id="259" name="Google Shape;259;p27"/>
          <p:cNvPicPr preferRelativeResize="0"/>
          <p:nvPr/>
        </p:nvPicPr>
        <p:blipFill>
          <a:blip r:embed="rId3">
            <a:alphaModFix/>
          </a:blip>
          <a:stretch>
            <a:fillRect/>
          </a:stretch>
        </p:blipFill>
        <p:spPr>
          <a:xfrm>
            <a:off x="666533" y="2988201"/>
            <a:ext cx="2209800" cy="2984500"/>
          </a:xfrm>
          <a:prstGeom prst="rect">
            <a:avLst/>
          </a:prstGeom>
          <a:noFill/>
          <a:ln>
            <a:noFill/>
          </a:ln>
        </p:spPr>
      </p:pic>
      <p:pic>
        <p:nvPicPr>
          <p:cNvPr id="260" name="Google Shape;260;p27"/>
          <p:cNvPicPr preferRelativeResize="0"/>
          <p:nvPr/>
        </p:nvPicPr>
        <p:blipFill>
          <a:blip r:embed="rId4">
            <a:alphaModFix/>
          </a:blip>
          <a:stretch>
            <a:fillRect/>
          </a:stretch>
        </p:blipFill>
        <p:spPr>
          <a:xfrm>
            <a:off x="6471451" y="3026301"/>
            <a:ext cx="2120900" cy="2908300"/>
          </a:xfrm>
          <a:prstGeom prst="rect">
            <a:avLst/>
          </a:prstGeom>
          <a:noFill/>
          <a:ln>
            <a:noFill/>
          </a:ln>
        </p:spPr>
      </p:pic>
      <p:pic>
        <p:nvPicPr>
          <p:cNvPr id="261" name="Google Shape;261;p27"/>
          <p:cNvPicPr preferRelativeResize="0"/>
          <p:nvPr/>
        </p:nvPicPr>
        <p:blipFill>
          <a:blip r:embed="rId5">
            <a:alphaModFix/>
          </a:blip>
          <a:stretch>
            <a:fillRect/>
          </a:stretch>
        </p:blipFill>
        <p:spPr>
          <a:xfrm>
            <a:off x="3540401" y="2988185"/>
            <a:ext cx="2222500" cy="2984500"/>
          </a:xfrm>
          <a:prstGeom prst="rect">
            <a:avLst/>
          </a:prstGeom>
          <a:noFill/>
          <a:ln>
            <a:noFill/>
          </a:ln>
        </p:spPr>
      </p:pic>
      <p:pic>
        <p:nvPicPr>
          <p:cNvPr id="262" name="Google Shape;262;p27"/>
          <p:cNvPicPr preferRelativeResize="0"/>
          <p:nvPr/>
        </p:nvPicPr>
        <p:blipFill>
          <a:blip r:embed="rId6">
            <a:alphaModFix/>
          </a:blip>
          <a:stretch>
            <a:fillRect/>
          </a:stretch>
        </p:blipFill>
        <p:spPr>
          <a:xfrm>
            <a:off x="9106734" y="3198834"/>
            <a:ext cx="2507100" cy="2487033"/>
          </a:xfrm>
          <a:prstGeom prst="rect">
            <a:avLst/>
          </a:prstGeom>
          <a:noFill/>
          <a:ln>
            <a:noFill/>
          </a:ln>
        </p:spPr>
      </p:pic>
    </p:spTree>
    <p:extLst>
      <p:ext uri="{BB962C8B-B14F-4D97-AF65-F5344CB8AC3E}">
        <p14:creationId xmlns:p14="http://schemas.microsoft.com/office/powerpoint/2010/main" val="3175157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8F64F00_42EF_4CFA_BA9D_D06DB1DD5A80&quot;,&quot;SourceFullName&quot;:&quot;https://smccd-my.sharepoint.com/personal/engelk_smccd_edu/Documents/Admin/President's Office/President's Advisory Council/Graduate data 2021.xlsx&quot;,&quot;LastUpdate&quot;:&quot;2021-06-10 9:29 A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1452482_4E77_4D52_9E29_0DCF7B185964&quot;,&quot;SourceFullName&quot;:&quot;https://smccd-my.sharepoint.com/personal/engelk_smccd_edu/Documents/Admin/President's Office/President's Advisory Council/Graduate data 2021.xlsx&quot;,&quot;LastUpdate&quot;:&quot;2021-06-10 9:16 A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45BAD48_B286_4E0F_8FB2_D183B7881975&quot;,&quot;SourceFullName&quot;:&quot;https://smccd-my.sharepoint.com/personal/engelk_smccd_edu/Documents/Admin/President's Office/President's Advisory Council/Graduate data 2021.xlsx&quot;,&quot;LastUpdate&quot;:&quot;2021-08-05 8:41 A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C616455_D752_4647_829D_31A216FD5659&quot;,&quot;SourceFullName&quot;:&quot;Book1&quot;,&quot;LastUpdate&quot;:&quot;2021-08-07 7:49 AM&quot;,&quot;UpdatedBy&quot;:&quot;engelk&quot;,&quot;IsLinked&quot;:false,&quot;IsBrokenLink&quot;:false,&quot;Type&quot;: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late">
  <a:themeElements>
    <a:clrScheme name="Custom 4">
      <a:dk1>
        <a:sysClr val="windowText" lastClr="000000"/>
      </a:dk1>
      <a:lt1>
        <a:sysClr val="window" lastClr="FFFFFF"/>
      </a:lt1>
      <a:dk2>
        <a:srgbClr val="006342"/>
      </a:dk2>
      <a:lt2>
        <a:srgbClr val="F2F5D7"/>
      </a:lt2>
      <a:accent1>
        <a:srgbClr val="549E39"/>
      </a:accent1>
      <a:accent2>
        <a:srgbClr val="8AB833"/>
      </a:accent2>
      <a:accent3>
        <a:srgbClr val="C0CF3A"/>
      </a:accent3>
      <a:accent4>
        <a:srgbClr val="029676"/>
      </a:accent4>
      <a:accent5>
        <a:srgbClr val="4AB5C4"/>
      </a:accent5>
      <a:accent6>
        <a:srgbClr val="0989B1"/>
      </a:accent6>
      <a:hlink>
        <a:srgbClr val="F2F5D7"/>
      </a:hlink>
      <a:folHlink>
        <a:srgbClr val="BA690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 id="{C3F70B94-7CE9-428E-ADC1-3269CC2C3385}" vid="{3F2DE9A5-64E6-437C-A389-CC4477E817E8}"/>
    </a:ext>
  </a:extLst>
</a:theme>
</file>

<file path=ppt/theme/theme2.xml><?xml version="1.0" encoding="utf-8"?>
<a:theme xmlns:a="http://schemas.openxmlformats.org/drawingml/2006/main" name="Generation of '27 by Slidesgo">
  <a:themeElements>
    <a:clrScheme name="Simple Light">
      <a:dk1>
        <a:srgbClr val="000000"/>
      </a:dk1>
      <a:lt1>
        <a:srgbClr val="FFFFFF"/>
      </a:lt1>
      <a:dk2>
        <a:srgbClr val="627F4C"/>
      </a:dk2>
      <a:lt2>
        <a:srgbClr val="DAE0C8"/>
      </a:lt2>
      <a:accent1>
        <a:srgbClr val="DCE7AC"/>
      </a:accent1>
      <a:accent2>
        <a:srgbClr val="BABE96"/>
      </a:accent2>
      <a:accent3>
        <a:srgbClr val="7E8A5C"/>
      </a:accent3>
      <a:accent4>
        <a:srgbClr val="92BB45"/>
      </a:accent4>
      <a:accent5>
        <a:srgbClr val="B7D8BD"/>
      </a:accent5>
      <a:accent6>
        <a:srgbClr val="D7FFC6"/>
      </a:accent6>
      <a:hlink>
        <a:srgbClr val="4F7F4C"/>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DFD401F-3EAD-4FCB-AD18-CCB558043D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A7A406D-CD8A-4C10-9793-44E179FEB17B}">
  <ds:schemaRefs>
    <ds:schemaRef ds:uri="http://schemas.microsoft.com/sharepoint/v3/contenttype/forms"/>
  </ds:schemaRefs>
</ds:datastoreItem>
</file>

<file path=customXml/itemProps3.xml><?xml version="1.0" encoding="utf-8"?>
<ds:datastoreItem xmlns:ds="http://schemas.openxmlformats.org/officeDocument/2006/customXml" ds:itemID="{35FA8DE1-05F2-4A12-9754-59B4A1E4C8C1}">
  <ds:schemaRefs>
    <ds:schemaRef ds:uri="http://purl.org/dc/terms/"/>
    <ds:schemaRef ds:uri="http://schemas.microsoft.com/office/2006/documentManagement/types"/>
    <ds:schemaRef ds:uri="bb5bbb0b-6c89-44d7-be61-0adfe653f983"/>
    <ds:schemaRef ds:uri="http://schemas.microsoft.com/office/infopath/2007/PartnerControls"/>
    <ds:schemaRef ds:uri="http://purl.org/dc/elements/1.1/"/>
    <ds:schemaRef ds:uri="http://schemas.openxmlformats.org/package/2006/metadata/core-properties"/>
    <ds:schemaRef ds:uri="http://purl.org/dc/dcmitype/"/>
    <ds:schemaRef ds:uri="2bc55ecc-363e-43e9-bfac-4ba2e86f45ee"/>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3260</Words>
  <Application>Microsoft Office PowerPoint</Application>
  <PresentationFormat>Widescreen</PresentationFormat>
  <Paragraphs>432</Paragraphs>
  <Slides>49</Slides>
  <Notes>17</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49</vt:i4>
      </vt:variant>
    </vt:vector>
  </HeadingPairs>
  <TitlesOfParts>
    <vt:vector size="62" baseType="lpstr">
      <vt:lpstr>Abel</vt:lpstr>
      <vt:lpstr>Arial</vt:lpstr>
      <vt:lpstr>Calibri</vt:lpstr>
      <vt:lpstr>Century Gothic</vt:lpstr>
      <vt:lpstr>Libre Baskerville</vt:lpstr>
      <vt:lpstr>Roboto</vt:lpstr>
      <vt:lpstr>Roboto Condensed</vt:lpstr>
      <vt:lpstr>Times New Roman</vt:lpstr>
      <vt:lpstr>Trebuchet MS</vt:lpstr>
      <vt:lpstr>Wingdings 2</vt:lpstr>
      <vt:lpstr>Slate</vt:lpstr>
      <vt:lpstr>Generation of '27 by Slidesgo</vt:lpstr>
      <vt:lpstr>1_Office Theme</vt:lpstr>
      <vt:lpstr>Leadership Retreat  August 11, 2021</vt:lpstr>
      <vt:lpstr>Welcome &amp; Introductions</vt:lpstr>
      <vt:lpstr>Retreat Objectives</vt:lpstr>
      <vt:lpstr>Retreat Agenda Overview</vt:lpstr>
      <vt:lpstr>Student Perspectives &amp; Priorities:  2021-22</vt:lpstr>
      <vt:lpstr>Associated Students of Cañada College 2021-2022 </vt:lpstr>
      <vt:lpstr>What is ASCC? </vt:lpstr>
      <vt:lpstr>Meet The Team!</vt:lpstr>
      <vt:lpstr>Commissioner of Public Records: Bellamy Cramer</vt:lpstr>
      <vt:lpstr>Meet The Team!</vt:lpstr>
      <vt:lpstr>Environmental Sustainability Initiative</vt:lpstr>
      <vt:lpstr> Housing &amp; Facilities Improvement Initiative</vt:lpstr>
      <vt:lpstr>Mental Health Initiative</vt:lpstr>
      <vt:lpstr>Campus Inclusion Initiative</vt:lpstr>
      <vt:lpstr>Campus Resources Awareness Initiative </vt:lpstr>
      <vt:lpstr>ASCC Events</vt:lpstr>
      <vt:lpstr>Vacant Positions </vt:lpstr>
      <vt:lpstr>Thank you </vt:lpstr>
      <vt:lpstr>Q&amp;A</vt:lpstr>
      <vt:lpstr>2020-21 Highlights and Progress</vt:lpstr>
      <vt:lpstr>Total graduates:  2020-21</vt:lpstr>
      <vt:lpstr>Degree Awards</vt:lpstr>
      <vt:lpstr>PowerPoint Presentation</vt:lpstr>
      <vt:lpstr>Additional Highlights</vt:lpstr>
      <vt:lpstr>BREAK</vt:lpstr>
      <vt:lpstr>Return &amp; Recovery</vt:lpstr>
      <vt:lpstr>Return to Campus</vt:lpstr>
      <vt:lpstr>Temperature Check:  3 breakouts</vt:lpstr>
      <vt:lpstr>VP’s Report Out</vt:lpstr>
      <vt:lpstr>Our Community</vt:lpstr>
      <vt:lpstr>PowerPoint Presentation</vt:lpstr>
      <vt:lpstr>PowerPoint Presentation</vt:lpstr>
      <vt:lpstr>PowerPoint Presentation</vt:lpstr>
      <vt:lpstr>PowerPoint Presentation</vt:lpstr>
      <vt:lpstr>Cañada: changing enrollment patterns during COVID…</vt:lpstr>
      <vt:lpstr>Recovery with Equity:  Guidance</vt:lpstr>
      <vt:lpstr>PowerPoint Presentation</vt:lpstr>
      <vt:lpstr>PowerPoint Presentation</vt:lpstr>
      <vt:lpstr>District Antiracism Council</vt:lpstr>
      <vt:lpstr>CLP-led focus groups held Feb-March 2021</vt:lpstr>
      <vt:lpstr>Focus Group General Recommendations</vt:lpstr>
      <vt:lpstr>Other campus efforts</vt:lpstr>
      <vt:lpstr>Discussion</vt:lpstr>
      <vt:lpstr>LUNCH</vt:lpstr>
      <vt:lpstr>Workshop:  What are we trying to solve?</vt:lpstr>
      <vt:lpstr>Workshop:  What are we trying to solve?</vt:lpstr>
      <vt:lpstr>Preparing for Day 2</vt:lpstr>
      <vt:lpstr>Recovery with Equity:  Guidance</vt:lpstr>
      <vt:lpstr>Close of Day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ship Retreat  August 11, 2021</dc:title>
  <dc:creator>Engel, Karen</dc:creator>
  <cp:lastModifiedBy>Engel, Karen</cp:lastModifiedBy>
  <cp:revision>3</cp:revision>
  <dcterms:created xsi:type="dcterms:W3CDTF">2021-08-10T23:42:04Z</dcterms:created>
  <dcterms:modified xsi:type="dcterms:W3CDTF">2021-08-11T20:0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